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8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10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notesSlides/notesSlide24.xml" ContentType="application/vnd.openxmlformats-officedocument.presentationml.notesSlid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notesSlides/notesSlide25.xml" ContentType="application/vnd.openxmlformats-officedocument.presentationml.notesSlid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notesSlides/notesSlide26.xml" ContentType="application/vnd.openxmlformats-officedocument.presentationml.notesSlid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notesSlides/notesSlide37.xml" ContentType="application/vnd.openxmlformats-officedocument.presentationml.notesSlid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38.xml" ContentType="application/vnd.openxmlformats-officedocument.presentationml.notesSlide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notesSlides/notesSlide39.xml" ContentType="application/vnd.openxmlformats-officedocument.presentationml.notesSlide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80"/>
  </p:notesMasterIdLst>
  <p:handoutMasterIdLst>
    <p:handoutMasterId r:id="rId81"/>
  </p:handoutMasterIdLst>
  <p:sldIdLst>
    <p:sldId id="261" r:id="rId2"/>
    <p:sldId id="399" r:id="rId3"/>
    <p:sldId id="480" r:id="rId4"/>
    <p:sldId id="481" r:id="rId5"/>
    <p:sldId id="482" r:id="rId6"/>
    <p:sldId id="413" r:id="rId7"/>
    <p:sldId id="419" r:id="rId8"/>
    <p:sldId id="402" r:id="rId9"/>
    <p:sldId id="403" r:id="rId10"/>
    <p:sldId id="414" r:id="rId11"/>
    <p:sldId id="415" r:id="rId12"/>
    <p:sldId id="449" r:id="rId13"/>
    <p:sldId id="404" r:id="rId14"/>
    <p:sldId id="407" r:id="rId15"/>
    <p:sldId id="408" r:id="rId16"/>
    <p:sldId id="416" r:id="rId17"/>
    <p:sldId id="405" r:id="rId18"/>
    <p:sldId id="409" r:id="rId19"/>
    <p:sldId id="410" r:id="rId20"/>
    <p:sldId id="417" r:id="rId21"/>
    <p:sldId id="406" r:id="rId22"/>
    <p:sldId id="411" r:id="rId23"/>
    <p:sldId id="412" r:id="rId24"/>
    <p:sldId id="418" r:id="rId25"/>
    <p:sldId id="420" r:id="rId26"/>
    <p:sldId id="422" r:id="rId27"/>
    <p:sldId id="423" r:id="rId28"/>
    <p:sldId id="424" r:id="rId29"/>
    <p:sldId id="450" r:id="rId30"/>
    <p:sldId id="426" r:id="rId31"/>
    <p:sldId id="427" r:id="rId32"/>
    <p:sldId id="428" r:id="rId33"/>
    <p:sldId id="430" r:id="rId34"/>
    <p:sldId id="431" r:id="rId35"/>
    <p:sldId id="432" r:id="rId36"/>
    <p:sldId id="434" r:id="rId37"/>
    <p:sldId id="435" r:id="rId38"/>
    <p:sldId id="436" r:id="rId39"/>
    <p:sldId id="421" r:id="rId40"/>
    <p:sldId id="437" r:id="rId41"/>
    <p:sldId id="438" r:id="rId42"/>
    <p:sldId id="439" r:id="rId43"/>
    <p:sldId id="451" r:id="rId44"/>
    <p:sldId id="440" r:id="rId45"/>
    <p:sldId id="441" r:id="rId46"/>
    <p:sldId id="442" r:id="rId47"/>
    <p:sldId id="443" r:id="rId48"/>
    <p:sldId id="444" r:id="rId49"/>
    <p:sldId id="445" r:id="rId50"/>
    <p:sldId id="446" r:id="rId51"/>
    <p:sldId id="447" r:id="rId52"/>
    <p:sldId id="448" r:id="rId53"/>
    <p:sldId id="456" r:id="rId54"/>
    <p:sldId id="452" r:id="rId55"/>
    <p:sldId id="453" r:id="rId56"/>
    <p:sldId id="454" r:id="rId57"/>
    <p:sldId id="455" r:id="rId58"/>
    <p:sldId id="457" r:id="rId59"/>
    <p:sldId id="458" r:id="rId60"/>
    <p:sldId id="459" r:id="rId61"/>
    <p:sldId id="460" r:id="rId62"/>
    <p:sldId id="461" r:id="rId63"/>
    <p:sldId id="462" r:id="rId64"/>
    <p:sldId id="463" r:id="rId65"/>
    <p:sldId id="464" r:id="rId66"/>
    <p:sldId id="465" r:id="rId67"/>
    <p:sldId id="466" r:id="rId68"/>
    <p:sldId id="467" r:id="rId69"/>
    <p:sldId id="468" r:id="rId70"/>
    <p:sldId id="469" r:id="rId71"/>
    <p:sldId id="470" r:id="rId72"/>
    <p:sldId id="471" r:id="rId73"/>
    <p:sldId id="472" r:id="rId74"/>
    <p:sldId id="473" r:id="rId75"/>
    <p:sldId id="474" r:id="rId76"/>
    <p:sldId id="475" r:id="rId77"/>
    <p:sldId id="476" r:id="rId78"/>
    <p:sldId id="477" r:id="rId79"/>
  </p:sldIdLst>
  <p:sldSz cx="12192000" cy="6858000"/>
  <p:notesSz cx="6805613" cy="9944100"/>
  <p:defaultTextStyle>
    <a:defPPr>
      <a:defRPr lang="en-US"/>
    </a:defPPr>
    <a:lvl1pPr marL="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ergy" initials="Co" lastIdx="1" clrIdx="0"/>
  <p:cmAuthor id="2" name="Д. Шумеков" initials="Шумеков" lastIdx="1" clrIdx="1">
    <p:extLst>
      <p:ext uri="{19B8F6BF-5375-455C-9EA6-DF929625EA0E}">
        <p15:presenceInfo xmlns:p15="http://schemas.microsoft.com/office/powerpoint/2012/main" userId="Д. Шумеков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1121"/>
    <a:srgbClr val="404040"/>
    <a:srgbClr val="95989F"/>
    <a:srgbClr val="56A972"/>
    <a:srgbClr val="D0ADC9"/>
    <a:srgbClr val="A9DFBF"/>
    <a:srgbClr val="FACAC3"/>
    <a:srgbClr val="C2E0F4"/>
    <a:srgbClr val="FBEDB7"/>
    <a:srgbClr val="FADB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00" autoAdjust="0"/>
    <p:restoredTop sz="94854" autoAdjust="0"/>
  </p:normalViewPr>
  <p:slideViewPr>
    <p:cSldViewPr snapToGrid="0">
      <p:cViewPr varScale="1">
        <p:scale>
          <a:sx n="105" d="100"/>
          <a:sy n="105" d="100"/>
        </p:scale>
        <p:origin x="768" y="102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02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handoutMaster" Target="handoutMasters/handoutMaster1.xml"/><Relationship Id="rId86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microsoft.com/office/2016/11/relationships/changesInfo" Target="changesInfos/changesInfo1.xml"/><Relationship Id="rId61" Type="http://schemas.openxmlformats.org/officeDocument/2006/relationships/slide" Target="slides/slide60.xml"/><Relationship Id="rId82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mitriy Shumekov" userId="ffbf198107bbd5ce" providerId="LiveId" clId="{167BE94B-8D3A-4531-9F68-529CDCD9B3C3}"/>
    <pc:docChg chg="undo redo custSel addSld delSld modSld sldOrd modMainMaster">
      <pc:chgData name="Dmitriy Shumekov" userId="ffbf198107bbd5ce" providerId="LiveId" clId="{167BE94B-8D3A-4531-9F68-529CDCD9B3C3}" dt="2025-04-16T11:14:18.383" v="5417" actId="20577"/>
      <pc:docMkLst>
        <pc:docMk/>
      </pc:docMkLst>
      <pc:sldChg chg="addSp modSp">
        <pc:chgData name="Dmitriy Shumekov" userId="ffbf198107bbd5ce" providerId="LiveId" clId="{167BE94B-8D3A-4531-9F68-529CDCD9B3C3}" dt="2025-04-11T04:56:28.332" v="1533"/>
        <pc:sldMkLst>
          <pc:docMk/>
          <pc:sldMk cId="3132684704" sldId="261"/>
        </pc:sldMkLst>
        <pc:picChg chg="add mod">
          <ac:chgData name="Dmitriy Shumekov" userId="ffbf198107bbd5ce" providerId="LiveId" clId="{167BE94B-8D3A-4531-9F68-529CDCD9B3C3}" dt="2025-04-11T04:56:28.332" v="1533"/>
          <ac:picMkLst>
            <pc:docMk/>
            <pc:sldMk cId="3132684704" sldId="261"/>
            <ac:picMk id="3" creationId="{A6E2D593-5ECE-CE25-3A6A-CFEDA90DED7A}"/>
          </ac:picMkLst>
        </pc:picChg>
      </pc:sldChg>
      <pc:sldChg chg="del">
        <pc:chgData name="Dmitriy Shumekov" userId="ffbf198107bbd5ce" providerId="LiveId" clId="{167BE94B-8D3A-4531-9F68-529CDCD9B3C3}" dt="2025-04-15T09:46:02.482" v="3537" actId="47"/>
        <pc:sldMkLst>
          <pc:docMk/>
          <pc:sldMk cId="3789146471" sldId="305"/>
        </pc:sldMkLst>
      </pc:sldChg>
      <pc:sldChg chg="del">
        <pc:chgData name="Dmitriy Shumekov" userId="ffbf198107bbd5ce" providerId="LiveId" clId="{167BE94B-8D3A-4531-9F68-529CDCD9B3C3}" dt="2025-04-15T09:46:03.622" v="3538" actId="47"/>
        <pc:sldMkLst>
          <pc:docMk/>
          <pc:sldMk cId="3430085435" sldId="328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418434920" sldId="394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82205540" sldId="395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515941239" sldId="397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686344814" sldId="398"/>
        </pc:sldMkLst>
      </pc:sldChg>
      <pc:sldChg chg="addSp delSp modSp mod ord">
        <pc:chgData name="Dmitriy Shumekov" userId="ffbf198107bbd5ce" providerId="LiveId" clId="{167BE94B-8D3A-4531-9F68-529CDCD9B3C3}" dt="2025-04-16T11:14:18.383" v="5417" actId="20577"/>
        <pc:sldMkLst>
          <pc:docMk/>
          <pc:sldMk cId="708424536" sldId="399"/>
        </pc:sldMkLst>
        <pc:spChg chg="mod">
          <ac:chgData name="Dmitriy Shumekov" userId="ffbf198107bbd5ce" providerId="LiveId" clId="{167BE94B-8D3A-4531-9F68-529CDCD9B3C3}" dt="2025-04-02T12:47:34.389" v="18" actId="20577"/>
          <ac:spMkLst>
            <pc:docMk/>
            <pc:sldMk cId="708424536" sldId="399"/>
            <ac:spMk id="2" creationId="{4A6A992A-441F-2FCE-4FEF-AB831EB5B99B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708424536" sldId="399"/>
            <ac:spMk id="3" creationId="{EAA7C4D1-AE2D-477B-83AB-17F5F8A426CE}"/>
          </ac:spMkLst>
        </pc:spChg>
        <pc:graphicFrameChg chg="add mod">
          <ac:chgData name="Dmitriy Shumekov" userId="ffbf198107bbd5ce" providerId="LiveId" clId="{167BE94B-8D3A-4531-9F68-529CDCD9B3C3}" dt="2025-04-16T04:55:06.267" v="4736"/>
          <ac:graphicFrameMkLst>
            <pc:docMk/>
            <pc:sldMk cId="708424536" sldId="399"/>
            <ac:graphicFrameMk id="4" creationId="{8FEAAF27-88DC-EAC0-6A8A-EBB9ABF3B55A}"/>
          </ac:graphicFrameMkLst>
        </pc:graphicFrameChg>
        <pc:graphicFrameChg chg="add mod modGraphic">
          <ac:chgData name="Dmitriy Shumekov" userId="ffbf198107bbd5ce" providerId="LiveId" clId="{167BE94B-8D3A-4531-9F68-529CDCD9B3C3}" dt="2025-04-16T11:14:18.383" v="5417" actId="20577"/>
          <ac:graphicFrameMkLst>
            <pc:docMk/>
            <pc:sldMk cId="708424536" sldId="399"/>
            <ac:graphicFrameMk id="5" creationId="{922B6919-9A9D-EA48-2D81-68DD482E4960}"/>
          </ac:graphicFrameMkLst>
        </pc:graphicFrame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120717675" sldId="400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358862248" sldId="400"/>
        </pc:sldMkLst>
        <pc:spChg chg="mod">
          <ac:chgData name="Dmitriy Shumekov" userId="ffbf198107bbd5ce" providerId="LiveId" clId="{167BE94B-8D3A-4531-9F68-529CDCD9B3C3}" dt="2025-04-16T11:08:57.228" v="5292" actId="20577"/>
          <ac:spMkLst>
            <pc:docMk/>
            <pc:sldMk cId="2358862248" sldId="400"/>
            <ac:spMk id="2" creationId="{ADFC91AC-CC1E-5594-BF57-AEF2E648C2A9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358862248" sldId="400"/>
            <ac:spMk id="3" creationId="{4BAF699B-492A-F9B3-F4F2-99594C85F5BC}"/>
          </ac:spMkLst>
        </pc:spChg>
      </pc:sldChg>
      <pc:sldChg chg="addSp delSp modSp add del mod">
        <pc:chgData name="Dmitriy Shumekov" userId="ffbf198107bbd5ce" providerId="LiveId" clId="{167BE94B-8D3A-4531-9F68-529CDCD9B3C3}" dt="2025-04-08T13:16:13.531" v="1529" actId="47"/>
        <pc:sldMkLst>
          <pc:docMk/>
          <pc:sldMk cId="123940231" sldId="401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835824295" sldId="401"/>
        </pc:sldMkLst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848053473" sldId="402"/>
        </pc:sldMkLst>
        <pc:spChg chg="mod">
          <ac:chgData name="Dmitriy Shumekov" userId="ffbf198107bbd5ce" providerId="LiveId" clId="{167BE94B-8D3A-4531-9F68-529CDCD9B3C3}" dt="2025-04-08T09:54:30.779" v="961" actId="20577"/>
          <ac:spMkLst>
            <pc:docMk/>
            <pc:sldMk cId="848053473" sldId="402"/>
            <ac:spMk id="2" creationId="{D655AE43-C693-A70E-6BC7-45EAFEF7C7DC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848053473" sldId="402"/>
            <ac:spMk id="3" creationId="{98F25433-6262-489E-4BE4-75B9D20BBFC3}"/>
          </ac:spMkLst>
        </pc:spChg>
        <pc:spChg chg="mod">
          <ac:chgData name="Dmitriy Shumekov" userId="ffbf198107bbd5ce" providerId="LiveId" clId="{167BE94B-8D3A-4531-9F68-529CDCD9B3C3}" dt="2025-04-08T05:11:17.957" v="684" actId="207"/>
          <ac:spMkLst>
            <pc:docMk/>
            <pc:sldMk cId="848053473" sldId="402"/>
            <ac:spMk id="6" creationId="{19872112-CED9-EF6A-02E5-E2F688545B98}"/>
          </ac:spMkLst>
        </pc:spChg>
        <pc:spChg chg="mod">
          <ac:chgData name="Dmitriy Shumekov" userId="ffbf198107bbd5ce" providerId="LiveId" clId="{167BE94B-8D3A-4531-9F68-529CDCD9B3C3}" dt="2025-04-08T05:11:13.524" v="683" actId="207"/>
          <ac:spMkLst>
            <pc:docMk/>
            <pc:sldMk cId="848053473" sldId="402"/>
            <ac:spMk id="7" creationId="{75370075-5EB2-4D8A-B165-39755E582C41}"/>
          </ac:spMkLst>
        </pc:spChg>
        <pc:spChg chg="mod">
          <ac:chgData name="Dmitriy Shumekov" userId="ffbf198107bbd5ce" providerId="LiveId" clId="{167BE94B-8D3A-4531-9F68-529CDCD9B3C3}" dt="2025-04-08T05:11:10.502" v="682" actId="207"/>
          <ac:spMkLst>
            <pc:docMk/>
            <pc:sldMk cId="848053473" sldId="402"/>
            <ac:spMk id="8" creationId="{1BA875B4-0A45-255C-0FEE-247181242DFA}"/>
          </ac:spMkLst>
        </pc:spChg>
        <pc:spChg chg="mod">
          <ac:chgData name="Dmitriy Shumekov" userId="ffbf198107bbd5ce" providerId="LiveId" clId="{167BE94B-8D3A-4531-9F68-529CDCD9B3C3}" dt="2025-04-11T07:30:07.320" v="1648" actId="20577"/>
          <ac:spMkLst>
            <pc:docMk/>
            <pc:sldMk cId="848053473" sldId="402"/>
            <ac:spMk id="10" creationId="{3BCD3863-14AB-71F9-64C4-DDE931508F10}"/>
          </ac:spMkLst>
        </pc:spChg>
        <pc:spChg chg="mod">
          <ac:chgData name="Dmitriy Shumekov" userId="ffbf198107bbd5ce" providerId="LiveId" clId="{167BE94B-8D3A-4531-9F68-529CDCD9B3C3}" dt="2025-04-11T07:30:15.336" v="1654" actId="20577"/>
          <ac:spMkLst>
            <pc:docMk/>
            <pc:sldMk cId="848053473" sldId="402"/>
            <ac:spMk id="11" creationId="{6C3B45FD-E848-8DA0-BE1E-A36AFEB3576F}"/>
          </ac:spMkLst>
        </pc:spChg>
        <pc:spChg chg="mod">
          <ac:chgData name="Dmitriy Shumekov" userId="ffbf198107bbd5ce" providerId="LiveId" clId="{167BE94B-8D3A-4531-9F68-529CDCD9B3C3}" dt="2025-04-11T07:30:00.878" v="1645" actId="20577"/>
          <ac:spMkLst>
            <pc:docMk/>
            <pc:sldMk cId="848053473" sldId="402"/>
            <ac:spMk id="12" creationId="{73CD4C0E-6D81-62DE-E650-BEAFAEA1F891}"/>
          </ac:spMkLst>
        </pc:spChg>
        <pc:spChg chg="add mod">
          <ac:chgData name="Dmitriy Shumekov" userId="ffbf198107bbd5ce" providerId="LiveId" clId="{167BE94B-8D3A-4531-9F68-529CDCD9B3C3}" dt="2025-04-11T05:59:58.441" v="1552" actId="20577"/>
          <ac:spMkLst>
            <pc:docMk/>
            <pc:sldMk cId="848053473" sldId="402"/>
            <ac:spMk id="37" creationId="{9A05F299-20A1-7F8C-AB17-59F299067E1A}"/>
          </ac:spMkLst>
        </pc:spChg>
        <pc:graphicFrameChg chg="mod modGraphic">
          <ac:chgData name="Dmitriy Shumekov" userId="ffbf198107bbd5ce" providerId="LiveId" clId="{167BE94B-8D3A-4531-9F68-529CDCD9B3C3}" dt="2025-04-15T07:27:58.510" v="3429" actId="20577"/>
          <ac:graphicFrameMkLst>
            <pc:docMk/>
            <pc:sldMk cId="848053473" sldId="402"/>
            <ac:graphicFrameMk id="4" creationId="{1FE18F45-4321-D1A4-B4CE-A74ADE99290F}"/>
          </ac:graphicFrameMkLst>
        </pc:graphicFrameChg>
        <pc:graphicFrameChg chg="mod">
          <ac:chgData name="Dmitriy Shumekov" userId="ffbf198107bbd5ce" providerId="LiveId" clId="{167BE94B-8D3A-4531-9F68-529CDCD9B3C3}" dt="2025-04-11T07:26:57.092" v="1622"/>
          <ac:graphicFrameMkLst>
            <pc:docMk/>
            <pc:sldMk cId="848053473" sldId="402"/>
            <ac:graphicFrameMk id="13" creationId="{08A73BEC-92F9-DAAA-6D4C-D2C7C1948BED}"/>
          </ac:graphicFrameMkLst>
        </pc:graphicFrameChg>
        <pc:graphicFrameChg chg="add mod">
          <ac:chgData name="Dmitriy Shumekov" userId="ffbf198107bbd5ce" providerId="LiveId" clId="{167BE94B-8D3A-4531-9F68-529CDCD9B3C3}" dt="2025-04-11T07:26:49.041" v="1621" actId="14100"/>
          <ac:graphicFrameMkLst>
            <pc:docMk/>
            <pc:sldMk cId="848053473" sldId="402"/>
            <ac:graphicFrameMk id="14" creationId="{64526ADE-25C3-C1FD-2B44-E3AE96FF005A}"/>
          </ac:graphicFrameMkLst>
        </pc:graphicFrameChg>
        <pc:graphicFrameChg chg="add mod">
          <ac:chgData name="Dmitriy Shumekov" userId="ffbf198107bbd5ce" providerId="LiveId" clId="{167BE94B-8D3A-4531-9F68-529CDCD9B3C3}" dt="2025-04-11T07:26:43.935" v="1619" actId="14100"/>
          <ac:graphicFrameMkLst>
            <pc:docMk/>
            <pc:sldMk cId="848053473" sldId="402"/>
            <ac:graphicFrameMk id="15" creationId="{2E6F2176-F27B-71E3-A2A2-AE2A0BD8ADBD}"/>
          </ac:graphicFrameMkLst>
        </pc:graphicFrameChg>
        <pc:graphicFrameChg chg="add mod modGraphic">
          <ac:chgData name="Dmitriy Shumekov" userId="ffbf198107bbd5ce" providerId="LiveId" clId="{167BE94B-8D3A-4531-9F68-529CDCD9B3C3}" dt="2025-04-15T07:28:02.257" v="3431" actId="20577"/>
          <ac:graphicFrameMkLst>
            <pc:docMk/>
            <pc:sldMk cId="848053473" sldId="402"/>
            <ac:graphicFrameMk id="17" creationId="{BAB5C061-EE79-0B8D-301E-993375858A3A}"/>
          </ac:graphicFrameMkLst>
        </pc:graphicFrameChg>
        <pc:graphicFrameChg chg="add mod modGraphic">
          <ac:chgData name="Dmitriy Shumekov" userId="ffbf198107bbd5ce" providerId="LiveId" clId="{167BE94B-8D3A-4531-9F68-529CDCD9B3C3}" dt="2025-04-11T07:26:31.779" v="1618" actId="3064"/>
          <ac:graphicFrameMkLst>
            <pc:docMk/>
            <pc:sldMk cId="848053473" sldId="402"/>
            <ac:graphicFrameMk id="18" creationId="{D83DE10D-5DA5-90F5-1244-5A6A96796BFF}"/>
          </ac:graphicFrameMkLst>
        </pc:graphicFrameChg>
        <pc:graphicFrameChg chg="add mod modGraphic">
          <ac:chgData name="Dmitriy Shumekov" userId="ffbf198107bbd5ce" providerId="LiveId" clId="{167BE94B-8D3A-4531-9F68-529CDCD9B3C3}" dt="2025-04-11T07:29:16.786" v="1635" actId="3064"/>
          <ac:graphicFrameMkLst>
            <pc:docMk/>
            <pc:sldMk cId="848053473" sldId="402"/>
            <ac:graphicFrameMk id="19" creationId="{48B80EDD-62D3-DCBD-2494-D70BABC84706}"/>
          </ac:graphicFrameMkLst>
        </pc:graphicFrameChg>
        <pc:graphicFrameChg chg="add mod">
          <ac:chgData name="Dmitriy Shumekov" userId="ffbf198107bbd5ce" providerId="LiveId" clId="{167BE94B-8D3A-4531-9F68-529CDCD9B3C3}" dt="2025-04-08T05:12:09.141" v="689" actId="14100"/>
          <ac:graphicFrameMkLst>
            <pc:docMk/>
            <pc:sldMk cId="848053473" sldId="402"/>
            <ac:graphicFrameMk id="20" creationId="{27F03A89-C90D-8F22-9663-D0D4CF57B828}"/>
          </ac:graphicFrameMkLst>
        </pc:graphicFrameChg>
        <pc:graphicFrameChg chg="add mod">
          <ac:chgData name="Dmitriy Shumekov" userId="ffbf198107bbd5ce" providerId="LiveId" clId="{167BE94B-8D3A-4531-9F68-529CDCD9B3C3}" dt="2025-04-11T07:28:51.742" v="1633" actId="14100"/>
          <ac:graphicFrameMkLst>
            <pc:docMk/>
            <pc:sldMk cId="848053473" sldId="402"/>
            <ac:graphicFrameMk id="21" creationId="{EA4B84EC-20A8-662B-F971-9EDE9797661D}"/>
          </ac:graphicFrameMkLst>
        </pc:graphicFrameChg>
        <pc:graphicFrameChg chg="add mod">
          <ac:chgData name="Dmitriy Shumekov" userId="ffbf198107bbd5ce" providerId="LiveId" clId="{167BE94B-8D3A-4531-9F68-529CDCD9B3C3}" dt="2025-04-08T05:09:46.945" v="584" actId="1076"/>
          <ac:graphicFrameMkLst>
            <pc:docMk/>
            <pc:sldMk cId="848053473" sldId="402"/>
            <ac:graphicFrameMk id="22" creationId="{024510F6-022B-9005-61A1-46C22CCC4684}"/>
          </ac:graphicFrameMkLst>
        </pc:graphicFrameChg>
        <pc:graphicFrameChg chg="add mod modGraphic">
          <ac:chgData name="Dmitriy Shumekov" userId="ffbf198107bbd5ce" providerId="LiveId" clId="{167BE94B-8D3A-4531-9F68-529CDCD9B3C3}" dt="2025-04-11T07:29:25.244" v="1637" actId="3064"/>
          <ac:graphicFrameMkLst>
            <pc:docMk/>
            <pc:sldMk cId="848053473" sldId="402"/>
            <ac:graphicFrameMk id="24" creationId="{E529C38A-84EE-B807-F6AA-BD1F003EE534}"/>
          </ac:graphicFrameMkLst>
        </pc:graphicFrameChg>
        <pc:graphicFrameChg chg="add mod modGraphic">
          <ac:chgData name="Dmitriy Shumekov" userId="ffbf198107bbd5ce" providerId="LiveId" clId="{167BE94B-8D3A-4531-9F68-529CDCD9B3C3}" dt="2025-04-11T07:29:40.961" v="1642" actId="14100"/>
          <ac:graphicFrameMkLst>
            <pc:docMk/>
            <pc:sldMk cId="848053473" sldId="402"/>
            <ac:graphicFrameMk id="25" creationId="{A703A960-2A23-36D6-A982-ADE7FEA021F2}"/>
          </ac:graphicFrameMkLst>
        </pc:graphicFrameChg>
        <pc:graphicFrameChg chg="add mod modGraphic">
          <ac:chgData name="Dmitriy Shumekov" userId="ffbf198107bbd5ce" providerId="LiveId" clId="{167BE94B-8D3A-4531-9F68-529CDCD9B3C3}" dt="2025-04-11T07:31:22.951" v="1666" actId="20577"/>
          <ac:graphicFrameMkLst>
            <pc:docMk/>
            <pc:sldMk cId="848053473" sldId="402"/>
            <ac:graphicFrameMk id="31" creationId="{161FE997-B05B-AFA3-968D-B5E53A2D1355}"/>
          </ac:graphicFrameMkLst>
        </pc:graphicFrameChg>
        <pc:graphicFrameChg chg="add mod">
          <ac:chgData name="Dmitriy Shumekov" userId="ffbf198107bbd5ce" providerId="LiveId" clId="{167BE94B-8D3A-4531-9F68-529CDCD9B3C3}" dt="2025-04-08T09:48:24.521" v="893" actId="14100"/>
          <ac:graphicFrameMkLst>
            <pc:docMk/>
            <pc:sldMk cId="848053473" sldId="402"/>
            <ac:graphicFrameMk id="32" creationId="{FD4AC615-8CD6-1F92-4148-0A0372F02A3C}"/>
          </ac:graphicFrameMkLst>
        </pc:graphicFrameChg>
        <pc:graphicFrameChg chg="add mod">
          <ac:chgData name="Dmitriy Shumekov" userId="ffbf198107bbd5ce" providerId="LiveId" clId="{167BE94B-8D3A-4531-9F68-529CDCD9B3C3}" dt="2025-04-08T09:48:38.356" v="896" actId="14100"/>
          <ac:graphicFrameMkLst>
            <pc:docMk/>
            <pc:sldMk cId="848053473" sldId="402"/>
            <ac:graphicFrameMk id="33" creationId="{6163B60D-13B5-C2E0-559D-D501A7615045}"/>
          </ac:graphicFrameMkLst>
        </pc:graphicFrameChg>
        <pc:graphicFrameChg chg="add mod">
          <ac:chgData name="Dmitriy Shumekov" userId="ffbf198107bbd5ce" providerId="LiveId" clId="{167BE94B-8D3A-4531-9F68-529CDCD9B3C3}" dt="2025-04-08T09:48:41.619" v="897" actId="14100"/>
          <ac:graphicFrameMkLst>
            <pc:docMk/>
            <pc:sldMk cId="848053473" sldId="402"/>
            <ac:graphicFrameMk id="34" creationId="{84926B4A-16AA-765C-657E-38B9166B625D}"/>
          </ac:graphicFrameMkLst>
        </pc:graphicFrameChg>
        <pc:graphicFrameChg chg="add mod modGraphic">
          <ac:chgData name="Dmitriy Shumekov" userId="ffbf198107bbd5ce" providerId="LiveId" clId="{167BE94B-8D3A-4531-9F68-529CDCD9B3C3}" dt="2025-04-11T07:31:45.683" v="1676" actId="14100"/>
          <ac:graphicFrameMkLst>
            <pc:docMk/>
            <pc:sldMk cId="848053473" sldId="402"/>
            <ac:graphicFrameMk id="35" creationId="{C3341226-F972-2CE0-5893-396C40B77898}"/>
          </ac:graphicFrameMkLst>
        </pc:graphicFrameChg>
        <pc:graphicFrameChg chg="add mod modGraphic">
          <ac:chgData name="Dmitriy Shumekov" userId="ffbf198107bbd5ce" providerId="LiveId" clId="{167BE94B-8D3A-4531-9F68-529CDCD9B3C3}" dt="2025-04-14T05:59:16.367" v="1677" actId="20577"/>
          <ac:graphicFrameMkLst>
            <pc:docMk/>
            <pc:sldMk cId="848053473" sldId="402"/>
            <ac:graphicFrameMk id="36" creationId="{1D840C1B-9496-EFAF-9ECF-76631E21D5F6}"/>
          </ac:graphicFrameMkLst>
        </pc:graphicFrameChg>
        <pc:cxnChg chg="add mod">
          <ac:chgData name="Dmitriy Shumekov" userId="ffbf198107bbd5ce" providerId="LiveId" clId="{167BE94B-8D3A-4531-9F68-529CDCD9B3C3}" dt="2025-04-08T09:44:41.422" v="830" actId="1582"/>
          <ac:cxnSpMkLst>
            <pc:docMk/>
            <pc:sldMk cId="848053473" sldId="402"/>
            <ac:cxnSpMk id="29" creationId="{2B1B65A8-A790-51AE-7E61-D33BA0CF774C}"/>
          </ac:cxnSpMkLst>
        </pc:cxnChg>
        <pc:cxnChg chg="add mod">
          <ac:chgData name="Dmitriy Shumekov" userId="ffbf198107bbd5ce" providerId="LiveId" clId="{167BE94B-8D3A-4531-9F68-529CDCD9B3C3}" dt="2025-04-08T09:44:56.184" v="831" actId="571"/>
          <ac:cxnSpMkLst>
            <pc:docMk/>
            <pc:sldMk cId="848053473" sldId="402"/>
            <ac:cxnSpMk id="30" creationId="{2E62939F-6618-05A1-1701-B79BC05AB01D}"/>
          </ac:cxnSpMkLst>
        </pc:cxn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450982621" sldId="402"/>
        </pc:sldMkLst>
      </pc:sldChg>
      <pc:sldChg chg="add del">
        <pc:chgData name="Dmitriy Shumekov" userId="ffbf198107bbd5ce" providerId="LiveId" clId="{167BE94B-8D3A-4531-9F68-529CDCD9B3C3}" dt="2025-04-07T12:45:18.953" v="171" actId="47"/>
        <pc:sldMkLst>
          <pc:docMk/>
          <pc:sldMk cId="2144857993" sldId="402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2091859013" sldId="403"/>
        </pc:sldMkLst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4174291615" sldId="403"/>
        </pc:sldMkLst>
        <pc:spChg chg="mod">
          <ac:chgData name="Dmitriy Shumekov" userId="ffbf198107bbd5ce" providerId="LiveId" clId="{167BE94B-8D3A-4531-9F68-529CDCD9B3C3}" dt="2025-04-08T09:54:47.551" v="970" actId="20577"/>
          <ac:spMkLst>
            <pc:docMk/>
            <pc:sldMk cId="4174291615" sldId="403"/>
            <ac:spMk id="2" creationId="{1F31B6B4-89B5-B7DA-EA6A-A852881E21F5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174291615" sldId="403"/>
            <ac:spMk id="3" creationId="{105943D3-7E0D-12B0-C5C8-B9FA93509310}"/>
          </ac:spMkLst>
        </pc:spChg>
        <pc:spChg chg="add mod">
          <ac:chgData name="Dmitriy Shumekov" userId="ffbf198107bbd5ce" providerId="LiveId" clId="{167BE94B-8D3A-4531-9F68-529CDCD9B3C3}" dt="2025-04-14T06:00:34.667" v="1679"/>
          <ac:spMkLst>
            <pc:docMk/>
            <pc:sldMk cId="4174291615" sldId="403"/>
            <ac:spMk id="5" creationId="{36E188C0-8DB2-3287-8F75-67FCDFFF8F84}"/>
          </ac:spMkLst>
        </pc:spChg>
        <pc:spChg chg="add mod">
          <ac:chgData name="Dmitriy Shumekov" userId="ffbf198107bbd5ce" providerId="LiveId" clId="{167BE94B-8D3A-4531-9F68-529CDCD9B3C3}" dt="2025-04-11T06:00:02.850" v="1553"/>
          <ac:spMkLst>
            <pc:docMk/>
            <pc:sldMk cId="4174291615" sldId="403"/>
            <ac:spMk id="9" creationId="{2E15BA23-554C-C1BD-E190-AB5B3F8652B9}"/>
          </ac:spMkLst>
        </pc:spChg>
        <pc:spChg chg="add mod">
          <ac:chgData name="Dmitriy Shumekov" userId="ffbf198107bbd5ce" providerId="LiveId" clId="{167BE94B-8D3A-4531-9F68-529CDCD9B3C3}" dt="2025-04-14T06:00:34.667" v="1679"/>
          <ac:spMkLst>
            <pc:docMk/>
            <pc:sldMk cId="4174291615" sldId="403"/>
            <ac:spMk id="16" creationId="{E34FEC43-ACCB-60BF-9668-36C443325131}"/>
          </ac:spMkLst>
        </pc:spChg>
        <pc:spChg chg="add mod">
          <ac:chgData name="Dmitriy Shumekov" userId="ffbf198107bbd5ce" providerId="LiveId" clId="{167BE94B-8D3A-4531-9F68-529CDCD9B3C3}" dt="2025-04-14T06:00:34.667" v="1679"/>
          <ac:spMkLst>
            <pc:docMk/>
            <pc:sldMk cId="4174291615" sldId="403"/>
            <ac:spMk id="23" creationId="{DB37D097-31AC-5CA5-E4A2-B45638ECF5F8}"/>
          </ac:spMkLst>
        </pc:spChg>
        <pc:graphicFrameChg chg="mod modGraphic">
          <ac:chgData name="Dmitriy Shumekov" userId="ffbf198107bbd5ce" providerId="LiveId" clId="{167BE94B-8D3A-4531-9F68-529CDCD9B3C3}" dt="2025-04-14T11:41:29.289" v="2123" actId="20577"/>
          <ac:graphicFrameMkLst>
            <pc:docMk/>
            <pc:sldMk cId="4174291615" sldId="403"/>
            <ac:graphicFrameMk id="4" creationId="{86B42319-E5B5-86A3-1659-B11E46473B0B}"/>
          </ac:graphicFrameMkLst>
        </pc:graphicFrameChg>
        <pc:graphicFrameChg chg="mod">
          <ac:chgData name="Dmitriy Shumekov" userId="ffbf198107bbd5ce" providerId="LiveId" clId="{167BE94B-8D3A-4531-9F68-529CDCD9B3C3}" dt="2025-04-08T12:57:40.615" v="1228" actId="14100"/>
          <ac:graphicFrameMkLst>
            <pc:docMk/>
            <pc:sldMk cId="4174291615" sldId="403"/>
            <ac:graphicFrameMk id="13" creationId="{A5EB3046-2608-8241-4F34-9C622A8CBE6C}"/>
          </ac:graphicFrameMkLst>
        </pc:graphicFrameChg>
        <pc:graphicFrameChg chg="mod">
          <ac:chgData name="Dmitriy Shumekov" userId="ffbf198107bbd5ce" providerId="LiveId" clId="{167BE94B-8D3A-4531-9F68-529CDCD9B3C3}" dt="2025-04-08T12:57:40.615" v="1228" actId="14100"/>
          <ac:graphicFrameMkLst>
            <pc:docMk/>
            <pc:sldMk cId="4174291615" sldId="403"/>
            <ac:graphicFrameMk id="14" creationId="{88E81AB5-1E48-1E8E-BEF7-D0D5F2B171E6}"/>
          </ac:graphicFrameMkLst>
        </pc:graphicFrameChg>
        <pc:graphicFrameChg chg="mod">
          <ac:chgData name="Dmitriy Shumekov" userId="ffbf198107bbd5ce" providerId="LiveId" clId="{167BE94B-8D3A-4531-9F68-529CDCD9B3C3}" dt="2025-04-08T12:57:40.615" v="1228" actId="14100"/>
          <ac:graphicFrameMkLst>
            <pc:docMk/>
            <pc:sldMk cId="4174291615" sldId="403"/>
            <ac:graphicFrameMk id="15" creationId="{64FAE220-F881-7989-D033-BBF02C36755A}"/>
          </ac:graphicFrameMkLst>
        </pc:graphicFrameChg>
        <pc:graphicFrameChg chg="mod modGraphic">
          <ac:chgData name="Dmitriy Shumekov" userId="ffbf198107bbd5ce" providerId="LiveId" clId="{167BE94B-8D3A-4531-9F68-529CDCD9B3C3}" dt="2025-04-14T09:46:33.935" v="1692"/>
          <ac:graphicFrameMkLst>
            <pc:docMk/>
            <pc:sldMk cId="4174291615" sldId="403"/>
            <ac:graphicFrameMk id="17" creationId="{D4CB9400-91F1-565C-8159-519123A82D98}"/>
          </ac:graphicFrameMkLst>
        </pc:graphicFrameChg>
        <pc:graphicFrameChg chg="mod modGraphic">
          <ac:chgData name="Dmitriy Shumekov" userId="ffbf198107bbd5ce" providerId="LiveId" clId="{167BE94B-8D3A-4531-9F68-529CDCD9B3C3}" dt="2025-04-14T09:46:43.823" v="1694" actId="3064"/>
          <ac:graphicFrameMkLst>
            <pc:docMk/>
            <pc:sldMk cId="4174291615" sldId="403"/>
            <ac:graphicFrameMk id="18" creationId="{32B583C9-2AE3-689C-60B5-D8FC96B6A408}"/>
          </ac:graphicFrameMkLst>
        </pc:graphicFrameChg>
        <pc:graphicFrameChg chg="mod modGraphic">
          <ac:chgData name="Dmitriy Shumekov" userId="ffbf198107bbd5ce" providerId="LiveId" clId="{167BE94B-8D3A-4531-9F68-529CDCD9B3C3}" dt="2025-04-14T09:53:41.987" v="1735" actId="3064"/>
          <ac:graphicFrameMkLst>
            <pc:docMk/>
            <pc:sldMk cId="4174291615" sldId="403"/>
            <ac:graphicFrameMk id="19" creationId="{7BE41369-23B2-4F05-9E30-B91EA08933C0}"/>
          </ac:graphicFrameMkLst>
        </pc:graphicFrameChg>
        <pc:graphicFrameChg chg="mod">
          <ac:chgData name="Dmitriy Shumekov" userId="ffbf198107bbd5ce" providerId="LiveId" clId="{167BE94B-8D3A-4531-9F68-529CDCD9B3C3}" dt="2025-04-08T10:29:02.219" v="1050" actId="1076"/>
          <ac:graphicFrameMkLst>
            <pc:docMk/>
            <pc:sldMk cId="4174291615" sldId="403"/>
            <ac:graphicFrameMk id="20" creationId="{44825F72-9DA2-AB34-F22B-A3FD71D1608F}"/>
          </ac:graphicFrameMkLst>
        </pc:graphicFrameChg>
        <pc:graphicFrameChg chg="mod">
          <ac:chgData name="Dmitriy Shumekov" userId="ffbf198107bbd5ce" providerId="LiveId" clId="{167BE94B-8D3A-4531-9F68-529CDCD9B3C3}" dt="2025-04-08T10:29:02.219" v="1050" actId="1076"/>
          <ac:graphicFrameMkLst>
            <pc:docMk/>
            <pc:sldMk cId="4174291615" sldId="403"/>
            <ac:graphicFrameMk id="21" creationId="{19448269-D953-7493-F3A0-2A610C88CB65}"/>
          </ac:graphicFrameMkLst>
        </pc:graphicFrameChg>
        <pc:graphicFrameChg chg="mod">
          <ac:chgData name="Dmitriy Shumekov" userId="ffbf198107bbd5ce" providerId="LiveId" clId="{167BE94B-8D3A-4531-9F68-529CDCD9B3C3}" dt="2025-04-08T10:29:02.219" v="1050" actId="1076"/>
          <ac:graphicFrameMkLst>
            <pc:docMk/>
            <pc:sldMk cId="4174291615" sldId="403"/>
            <ac:graphicFrameMk id="22" creationId="{C9534C80-C63B-3A1B-88CA-EC1AB7FEAB8E}"/>
          </ac:graphicFrameMkLst>
        </pc:graphicFrameChg>
        <pc:graphicFrameChg chg="mod modGraphic">
          <ac:chgData name="Dmitriy Shumekov" userId="ffbf198107bbd5ce" providerId="LiveId" clId="{167BE94B-8D3A-4531-9F68-529CDCD9B3C3}" dt="2025-04-14T09:53:47.216" v="1737" actId="3064"/>
          <ac:graphicFrameMkLst>
            <pc:docMk/>
            <pc:sldMk cId="4174291615" sldId="403"/>
            <ac:graphicFrameMk id="24" creationId="{B50DD371-1182-DCF3-1E06-1E99FC95E32A}"/>
          </ac:graphicFrameMkLst>
        </pc:graphicFrameChg>
        <pc:graphicFrameChg chg="mod modGraphic">
          <ac:chgData name="Dmitriy Shumekov" userId="ffbf198107bbd5ce" providerId="LiveId" clId="{167BE94B-8D3A-4531-9F68-529CDCD9B3C3}" dt="2025-04-14T09:53:52.912" v="1739" actId="3064"/>
          <ac:graphicFrameMkLst>
            <pc:docMk/>
            <pc:sldMk cId="4174291615" sldId="403"/>
            <ac:graphicFrameMk id="25" creationId="{3D2CBAF1-E154-04FF-FC98-166CE2F5286F}"/>
          </ac:graphicFrameMkLst>
        </pc:graphicFrameChg>
        <pc:cxnChg chg="mod">
          <ac:chgData name="Dmitriy Shumekov" userId="ffbf198107bbd5ce" providerId="LiveId" clId="{167BE94B-8D3A-4531-9F68-529CDCD9B3C3}" dt="2025-04-08T10:29:04.862" v="1051" actId="1076"/>
          <ac:cxnSpMkLst>
            <pc:docMk/>
            <pc:sldMk cId="4174291615" sldId="403"/>
            <ac:cxnSpMk id="29" creationId="{16C17891-651B-93ED-09B3-DC37F3C56649}"/>
          </ac:cxnSpMkLst>
        </pc:cxn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347906647" sldId="404"/>
        </pc:sldMkLst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091748404" sldId="404"/>
        </pc:sldMkLst>
        <pc:spChg chg="mod">
          <ac:chgData name="Dmitriy Shumekov" userId="ffbf198107bbd5ce" providerId="LiveId" clId="{167BE94B-8D3A-4531-9F68-529CDCD9B3C3}" dt="2025-04-08T12:59:14.719" v="1273" actId="6549"/>
          <ac:spMkLst>
            <pc:docMk/>
            <pc:sldMk cId="3091748404" sldId="404"/>
            <ac:spMk id="2" creationId="{4A881AC5-E980-95ED-EB23-314A253381D4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091748404" sldId="404"/>
            <ac:spMk id="3" creationId="{59772DE1-425A-6DFE-F67B-B63A76EB526E}"/>
          </ac:spMkLst>
        </pc:spChg>
        <pc:spChg chg="add mod">
          <ac:chgData name="Dmitriy Shumekov" userId="ffbf198107bbd5ce" providerId="LiveId" clId="{167BE94B-8D3A-4531-9F68-529CDCD9B3C3}" dt="2025-04-11T06:00:12.339" v="1567" actId="14100"/>
          <ac:spMkLst>
            <pc:docMk/>
            <pc:sldMk cId="3091748404" sldId="404"/>
            <ac:spMk id="5" creationId="{D6358EC7-0A5A-6031-BCDE-4AAD3162D060}"/>
          </ac:spMkLst>
        </pc:spChg>
        <pc:graphicFrameChg chg="add mod modGraphic">
          <ac:chgData name="Dmitriy Shumekov" userId="ffbf198107bbd5ce" providerId="LiveId" clId="{167BE94B-8D3A-4531-9F68-529CDCD9B3C3}" dt="2025-04-14T10:39:41.327" v="1850"/>
          <ac:graphicFrameMkLst>
            <pc:docMk/>
            <pc:sldMk cId="3091748404" sldId="404"/>
            <ac:graphicFrameMk id="9" creationId="{9EC5FD1E-41DB-46F2-006E-9E759A09AB03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731587114" sldId="405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731587114" sldId="405"/>
            <ac:spMk id="3" creationId="{DFE2FF1A-84C1-2E08-AAE8-5504493E3897}"/>
          </ac:spMkLst>
        </pc:spChg>
        <pc:spChg chg="mod">
          <ac:chgData name="Dmitriy Shumekov" userId="ffbf198107bbd5ce" providerId="LiveId" clId="{167BE94B-8D3A-4531-9F68-529CDCD9B3C3}" dt="2025-04-11T06:00:21.312" v="1569"/>
          <ac:spMkLst>
            <pc:docMk/>
            <pc:sldMk cId="1731587114" sldId="405"/>
            <ac:spMk id="5" creationId="{97162A84-242F-C39B-1B87-04EB10829B42}"/>
          </ac:spMkLst>
        </pc:spChg>
        <pc:graphicFrameChg chg="mod modGraphic">
          <ac:chgData name="Dmitriy Shumekov" userId="ffbf198107bbd5ce" providerId="LiveId" clId="{167BE94B-8D3A-4531-9F68-529CDCD9B3C3}" dt="2025-04-14T10:40:05.321" v="1856"/>
          <ac:graphicFrameMkLst>
            <pc:docMk/>
            <pc:sldMk cId="1731587114" sldId="405"/>
            <ac:graphicFrameMk id="9" creationId="{5B1618DF-00B7-7508-EBC3-6B108ADF7604}"/>
          </ac:graphicFrameMkLst>
        </pc:graphicFrame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2363649687" sldId="405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507635985" sldId="406"/>
        </pc:sldMkLst>
        <pc:spChg chg="mod">
          <ac:chgData name="Dmitriy Shumekov" userId="ffbf198107bbd5ce" providerId="LiveId" clId="{167BE94B-8D3A-4531-9F68-529CDCD9B3C3}" dt="2025-04-08T13:14:41.246" v="1507" actId="207"/>
          <ac:spMkLst>
            <pc:docMk/>
            <pc:sldMk cId="507635985" sldId="406"/>
            <ac:spMk id="2" creationId="{76A63821-2A82-004E-92F0-02A4C1979495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507635985" sldId="406"/>
            <ac:spMk id="3" creationId="{0268A96D-6E6F-E64C-B724-5D2610D060A0}"/>
          </ac:spMkLst>
        </pc:spChg>
        <pc:spChg chg="mod">
          <ac:chgData name="Dmitriy Shumekov" userId="ffbf198107bbd5ce" providerId="LiveId" clId="{167BE94B-8D3A-4531-9F68-529CDCD9B3C3}" dt="2025-04-11T06:00:26.612" v="1571"/>
          <ac:spMkLst>
            <pc:docMk/>
            <pc:sldMk cId="507635985" sldId="406"/>
            <ac:spMk id="5" creationId="{B5B66276-A10E-42BA-07A3-1C7E377C4003}"/>
          </ac:spMkLst>
        </pc:spChg>
        <pc:graphicFrameChg chg="mod modGraphic">
          <ac:chgData name="Dmitriy Shumekov" userId="ffbf198107bbd5ce" providerId="LiveId" clId="{167BE94B-8D3A-4531-9F68-529CDCD9B3C3}" dt="2025-04-14T10:40:14.234" v="1868"/>
          <ac:graphicFrameMkLst>
            <pc:docMk/>
            <pc:sldMk cId="507635985" sldId="406"/>
            <ac:graphicFrameMk id="9" creationId="{924ECCF8-44CA-8E1D-A235-628C38AD160E}"/>
          </ac:graphicFrameMkLst>
        </pc:graphicFrame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4277573374" sldId="406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632785355" sldId="407"/>
        </pc:sldMkLst>
        <pc:spChg chg="mod">
          <ac:chgData name="Dmitriy Shumekov" userId="ffbf198107bbd5ce" providerId="LiveId" clId="{167BE94B-8D3A-4531-9F68-529CDCD9B3C3}" dt="2025-04-14T10:24:39.180" v="1766" actId="20577"/>
          <ac:spMkLst>
            <pc:docMk/>
            <pc:sldMk cId="632785355" sldId="407"/>
            <ac:spMk id="2" creationId="{3A7C80A4-2286-6F52-94F7-ED63493037D7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632785355" sldId="407"/>
            <ac:spMk id="3" creationId="{07F69842-A0C7-62B1-0A8C-B670D4B8B4E4}"/>
          </ac:spMkLst>
        </pc:spChg>
        <pc:graphicFrameChg chg="mod modGraphic">
          <ac:chgData name="Dmitriy Shumekov" userId="ffbf198107bbd5ce" providerId="LiveId" clId="{167BE94B-8D3A-4531-9F68-529CDCD9B3C3}" dt="2025-04-14T11:32:06.322" v="2002"/>
          <ac:graphicFrameMkLst>
            <pc:docMk/>
            <pc:sldMk cId="632785355" sldId="407"/>
            <ac:graphicFrameMk id="9" creationId="{53AD8AC5-9D4E-561A-07A6-751C3183EFA0}"/>
          </ac:graphicFrameMkLst>
        </pc:graphicFrameChg>
      </pc:sldChg>
      <pc:sldChg chg="add del">
        <pc:chgData name="Dmitriy Shumekov" userId="ffbf198107bbd5ce" providerId="LiveId" clId="{167BE94B-8D3A-4531-9F68-529CDCD9B3C3}" dt="2025-04-14T09:55:28.829" v="1742" actId="47"/>
        <pc:sldMkLst>
          <pc:docMk/>
          <pc:sldMk cId="1468826896" sldId="407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3162501983" sldId="407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513710179" sldId="408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717310129" sldId="408"/>
        </pc:sldMkLst>
        <pc:spChg chg="mod">
          <ac:chgData name="Dmitriy Shumekov" userId="ffbf198107bbd5ce" providerId="LiveId" clId="{167BE94B-8D3A-4531-9F68-529CDCD9B3C3}" dt="2025-04-14T10:24:46.461" v="1775" actId="20577"/>
          <ac:spMkLst>
            <pc:docMk/>
            <pc:sldMk cId="2717310129" sldId="408"/>
            <ac:spMk id="2" creationId="{F4E6EF0B-C99E-240B-7786-5779B112824D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717310129" sldId="408"/>
            <ac:spMk id="3" creationId="{E6C1A5F5-1E24-A141-E756-D842F9186438}"/>
          </ac:spMkLst>
        </pc:spChg>
        <pc:graphicFrameChg chg="mod modGraphic">
          <ac:chgData name="Dmitriy Shumekov" userId="ffbf198107bbd5ce" providerId="LiveId" clId="{167BE94B-8D3A-4531-9F68-529CDCD9B3C3}" dt="2025-04-14T11:30:39.961" v="1997" actId="3064"/>
          <ac:graphicFrameMkLst>
            <pc:docMk/>
            <pc:sldMk cId="2717310129" sldId="408"/>
            <ac:graphicFrameMk id="9" creationId="{41B578DC-E0D7-EB9F-7388-7A9EF83E6F15}"/>
          </ac:graphicFrameMkLst>
        </pc:graphicFrame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071930882" sldId="409"/>
        </pc:sldMkLst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4263060189" sldId="409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263060189" sldId="409"/>
            <ac:spMk id="3" creationId="{948884C2-9287-D90A-B80C-7E108C48D97E}"/>
          </ac:spMkLst>
        </pc:spChg>
        <pc:spChg chg="add mod">
          <ac:chgData name="Dmitriy Shumekov" userId="ffbf198107bbd5ce" providerId="LiveId" clId="{167BE94B-8D3A-4531-9F68-529CDCD9B3C3}" dt="2025-04-14T10:45:49.828" v="1945"/>
          <ac:spMkLst>
            <pc:docMk/>
            <pc:sldMk cId="4263060189" sldId="409"/>
            <ac:spMk id="4" creationId="{95479482-2639-6EFC-8E97-DCC0AA15A541}"/>
          </ac:spMkLst>
        </pc:spChg>
        <pc:graphicFrameChg chg="mod modGraphic">
          <ac:chgData name="Dmitriy Shumekov" userId="ffbf198107bbd5ce" providerId="LiveId" clId="{167BE94B-8D3A-4531-9F68-529CDCD9B3C3}" dt="2025-04-14T11:32:30.894" v="2004" actId="3064"/>
          <ac:graphicFrameMkLst>
            <pc:docMk/>
            <pc:sldMk cId="4263060189" sldId="409"/>
            <ac:graphicFrameMk id="9" creationId="{1B412B86-91AC-8E07-9611-16450E2354B9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569292262" sldId="410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569292262" sldId="410"/>
            <ac:spMk id="3" creationId="{5C30FF72-88E5-53C8-17F1-8FC1EFB24D94}"/>
          </ac:spMkLst>
        </pc:spChg>
        <pc:spChg chg="add mod">
          <ac:chgData name="Dmitriy Shumekov" userId="ffbf198107bbd5ce" providerId="LiveId" clId="{167BE94B-8D3A-4531-9F68-529CDCD9B3C3}" dt="2025-04-14T10:45:52.219" v="1947"/>
          <ac:spMkLst>
            <pc:docMk/>
            <pc:sldMk cId="569292262" sldId="410"/>
            <ac:spMk id="4" creationId="{5749B0FB-6D24-2607-953A-B18F12C735CC}"/>
          </ac:spMkLst>
        </pc:spChg>
        <pc:graphicFrameChg chg="mod modGraphic">
          <ac:chgData name="Dmitriy Shumekov" userId="ffbf198107bbd5ce" providerId="LiveId" clId="{167BE94B-8D3A-4531-9F68-529CDCD9B3C3}" dt="2025-04-14T11:31:09.009" v="1999" actId="3064"/>
          <ac:graphicFrameMkLst>
            <pc:docMk/>
            <pc:sldMk cId="569292262" sldId="410"/>
            <ac:graphicFrameMk id="9" creationId="{F8B8C652-4868-795D-A14E-8C56713F9795}"/>
          </ac:graphicFrameMkLst>
        </pc:graphicFrameChg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1018574533" sldId="410"/>
        </pc:sldMkLst>
      </pc:sldChg>
      <pc:sldChg chg="del">
        <pc:chgData name="Dmitriy Shumekov" userId="ffbf198107bbd5ce" providerId="LiveId" clId="{167BE94B-8D3A-4531-9F68-529CDCD9B3C3}" dt="2025-04-02T12:47:21.487" v="7" actId="47"/>
        <pc:sldMkLst>
          <pc:docMk/>
          <pc:sldMk cId="3087024274" sldId="411"/>
        </pc:sldMkLst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126600126" sldId="411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126600126" sldId="411"/>
            <ac:spMk id="3" creationId="{829087FE-87A9-8C13-2262-D04758890125}"/>
          </ac:spMkLst>
        </pc:spChg>
        <pc:spChg chg="add mod">
          <ac:chgData name="Dmitriy Shumekov" userId="ffbf198107bbd5ce" providerId="LiveId" clId="{167BE94B-8D3A-4531-9F68-529CDCD9B3C3}" dt="2025-04-14T10:46:49.959" v="1960"/>
          <ac:spMkLst>
            <pc:docMk/>
            <pc:sldMk cId="3126600126" sldId="411"/>
            <ac:spMk id="5" creationId="{DD892806-9148-1669-328C-9CF1E2F078DE}"/>
          </ac:spMkLst>
        </pc:spChg>
        <pc:graphicFrameChg chg="mod modGraphic">
          <ac:chgData name="Dmitriy Shumekov" userId="ffbf198107bbd5ce" providerId="LiveId" clId="{167BE94B-8D3A-4531-9F68-529CDCD9B3C3}" dt="2025-04-14T11:32:52.083" v="2006" actId="3064"/>
          <ac:graphicFrameMkLst>
            <pc:docMk/>
            <pc:sldMk cId="3126600126" sldId="411"/>
            <ac:graphicFrameMk id="9" creationId="{582C9178-6FFD-5106-10D0-F546208FB99A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619628606" sldId="41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619628606" sldId="412"/>
            <ac:spMk id="3" creationId="{7E5C0C20-CCDC-7F53-9A72-47468B9BB3F8}"/>
          </ac:spMkLst>
        </pc:spChg>
        <pc:spChg chg="add mod">
          <ac:chgData name="Dmitriy Shumekov" userId="ffbf198107bbd5ce" providerId="LiveId" clId="{167BE94B-8D3A-4531-9F68-529CDCD9B3C3}" dt="2025-04-14T10:46:54.521" v="1962"/>
          <ac:spMkLst>
            <pc:docMk/>
            <pc:sldMk cId="619628606" sldId="412"/>
            <ac:spMk id="5" creationId="{06CC5F22-539E-3E19-6D92-2B662174780A}"/>
          </ac:spMkLst>
        </pc:spChg>
        <pc:graphicFrameChg chg="mod modGraphic">
          <ac:chgData name="Dmitriy Shumekov" userId="ffbf198107bbd5ce" providerId="LiveId" clId="{167BE94B-8D3A-4531-9F68-529CDCD9B3C3}" dt="2025-04-15T06:20:13.790" v="3000" actId="207"/>
          <ac:graphicFrameMkLst>
            <pc:docMk/>
            <pc:sldMk cId="619628606" sldId="412"/>
            <ac:graphicFrameMk id="9" creationId="{21E7DA97-373E-FC62-65B4-7971646F4121}"/>
          </ac:graphicFrameMkLst>
        </pc:graphicFrameChg>
      </pc:sldChg>
      <pc:sldChg chg="addSp delSp modSp add mod ord">
        <pc:chgData name="Dmitriy Shumekov" userId="ffbf198107bbd5ce" providerId="LiveId" clId="{167BE94B-8D3A-4531-9F68-529CDCD9B3C3}" dt="2025-04-16T11:10:05.877" v="5298"/>
        <pc:sldMkLst>
          <pc:docMk/>
          <pc:sldMk cId="1724724112" sldId="413"/>
        </pc:sldMkLst>
        <pc:spChg chg="mod">
          <ac:chgData name="Dmitriy Shumekov" userId="ffbf198107bbd5ce" providerId="LiveId" clId="{167BE94B-8D3A-4531-9F68-529CDCD9B3C3}" dt="2025-04-14T11:50:01.810" v="2304" actId="20577"/>
          <ac:spMkLst>
            <pc:docMk/>
            <pc:sldMk cId="1724724112" sldId="413"/>
            <ac:spMk id="2" creationId="{90F4C765-83E7-7EAA-CE0F-7CC02A1C1A87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724724112" sldId="413"/>
            <ac:spMk id="3" creationId="{96BE2EBC-66FB-D040-2C81-AFFAD535464B}"/>
          </ac:spMkLst>
        </pc:spChg>
        <pc:graphicFrameChg chg="add mod modGraphic">
          <ac:chgData name="Dmitriy Shumekov" userId="ffbf198107bbd5ce" providerId="LiveId" clId="{167BE94B-8D3A-4531-9F68-529CDCD9B3C3}" dt="2025-04-15T05:21:09.602" v="2784"/>
          <ac:graphicFrameMkLst>
            <pc:docMk/>
            <pc:sldMk cId="1724724112" sldId="413"/>
            <ac:graphicFrameMk id="10" creationId="{F80B5CC3-FB55-A8EE-77D2-8D2FE15A4C30}"/>
          </ac:graphicFrameMkLst>
        </pc:graphicFrameChg>
        <pc:graphicFrameChg chg="add mod modGraphic">
          <ac:chgData name="Dmitriy Shumekov" userId="ffbf198107bbd5ce" providerId="LiveId" clId="{167BE94B-8D3A-4531-9F68-529CDCD9B3C3}" dt="2025-04-15T05:21:24.889" v="2790" actId="1076"/>
          <ac:graphicFrameMkLst>
            <pc:docMk/>
            <pc:sldMk cId="1724724112" sldId="413"/>
            <ac:graphicFrameMk id="33" creationId="{4BD32098-0B9B-B324-5D78-24A6C156B1E5}"/>
          </ac:graphicFrameMkLst>
        </pc:graphicFrameChg>
        <pc:graphicFrameChg chg="add mod modGraphic">
          <ac:chgData name="Dmitriy Shumekov" userId="ffbf198107bbd5ce" providerId="LiveId" clId="{167BE94B-8D3A-4531-9F68-529CDCD9B3C3}" dt="2025-04-15T05:21:20.626" v="2789" actId="1076"/>
          <ac:graphicFrameMkLst>
            <pc:docMk/>
            <pc:sldMk cId="1724724112" sldId="413"/>
            <ac:graphicFrameMk id="34" creationId="{383ABACF-0945-F734-3E25-BB3667F17442}"/>
          </ac:graphicFrameMkLst>
        </pc:graphicFrameChg>
      </pc:sldChg>
      <pc:sldChg chg="delSp modSp add mod">
        <pc:chgData name="Dmitriy Shumekov" userId="ffbf198107bbd5ce" providerId="LiveId" clId="{167BE94B-8D3A-4531-9F68-529CDCD9B3C3}" dt="2025-04-16T11:10:05.877" v="5298"/>
        <pc:sldMkLst>
          <pc:docMk/>
          <pc:sldMk cId="1174539779" sldId="414"/>
        </pc:sldMkLst>
        <pc:spChg chg="mod">
          <ac:chgData name="Dmitriy Shumekov" userId="ffbf198107bbd5ce" providerId="LiveId" clId="{167BE94B-8D3A-4531-9F68-529CDCD9B3C3}" dt="2025-04-14T11:45:10.759" v="2144" actId="20577"/>
          <ac:spMkLst>
            <pc:docMk/>
            <pc:sldMk cId="1174539779" sldId="414"/>
            <ac:spMk id="2" creationId="{6F3B8665-5528-0F2D-BCB5-681FF270D80C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174539779" sldId="414"/>
            <ac:spMk id="3" creationId="{16AB6DF6-15E0-DDD1-BF7E-17080E5E23E0}"/>
          </ac:spMkLst>
        </pc:spChg>
        <pc:graphicFrameChg chg="mod modGraphic">
          <ac:chgData name="Dmitriy Shumekov" userId="ffbf198107bbd5ce" providerId="LiveId" clId="{167BE94B-8D3A-4531-9F68-529CDCD9B3C3}" dt="2025-04-14T11:46:01.891" v="2217" actId="403"/>
          <ac:graphicFrameMkLst>
            <pc:docMk/>
            <pc:sldMk cId="1174539779" sldId="414"/>
            <ac:graphicFrameMk id="4" creationId="{8344530C-8CF3-564A-2B75-5BF55DDAA8B1}"/>
          </ac:graphicFrameMkLst>
        </pc:graphicFrameChg>
        <pc:graphicFrameChg chg="mod">
          <ac:chgData name="Dmitriy Shumekov" userId="ffbf198107bbd5ce" providerId="LiveId" clId="{167BE94B-8D3A-4531-9F68-529CDCD9B3C3}" dt="2025-04-14T11:49:33.607" v="2262" actId="14100"/>
          <ac:graphicFrameMkLst>
            <pc:docMk/>
            <pc:sldMk cId="1174539779" sldId="414"/>
            <ac:graphicFrameMk id="13" creationId="{80EBAC93-400F-D4CE-20B5-9760872B1855}"/>
          </ac:graphicFrameMkLst>
        </pc:graphicFrameChg>
        <pc:graphicFrameChg chg="mod">
          <ac:chgData name="Dmitriy Shumekov" userId="ffbf198107bbd5ce" providerId="LiveId" clId="{167BE94B-8D3A-4531-9F68-529CDCD9B3C3}" dt="2025-04-14T11:49:33.607" v="2262" actId="14100"/>
          <ac:graphicFrameMkLst>
            <pc:docMk/>
            <pc:sldMk cId="1174539779" sldId="414"/>
            <ac:graphicFrameMk id="14" creationId="{45D262F1-3051-8ED8-C93C-794BB8FA326C}"/>
          </ac:graphicFrameMkLst>
        </pc:graphicFrameChg>
        <pc:graphicFrameChg chg="mod">
          <ac:chgData name="Dmitriy Shumekov" userId="ffbf198107bbd5ce" providerId="LiveId" clId="{167BE94B-8D3A-4531-9F68-529CDCD9B3C3}" dt="2025-04-14T11:49:33.607" v="2262" actId="14100"/>
          <ac:graphicFrameMkLst>
            <pc:docMk/>
            <pc:sldMk cId="1174539779" sldId="414"/>
            <ac:graphicFrameMk id="15" creationId="{E6B8537B-7E61-470C-14DB-7F9E110C6461}"/>
          </ac:graphicFrameMkLst>
        </pc:graphicFrameChg>
      </pc:sldChg>
      <pc:sldChg chg="addSp modSp add mod">
        <pc:chgData name="Dmitriy Shumekov" userId="ffbf198107bbd5ce" providerId="LiveId" clId="{167BE94B-8D3A-4531-9F68-529CDCD9B3C3}" dt="2025-04-16T11:10:05.877" v="5298"/>
        <pc:sldMkLst>
          <pc:docMk/>
          <pc:sldMk cId="2279910091" sldId="415"/>
        </pc:sldMkLst>
        <pc:spChg chg="mod">
          <ac:chgData name="Dmitriy Shumekov" userId="ffbf198107bbd5ce" providerId="LiveId" clId="{167BE94B-8D3A-4531-9F68-529CDCD9B3C3}" dt="2025-04-15T06:05:27.622" v="2819" actId="404"/>
          <ac:spMkLst>
            <pc:docMk/>
            <pc:sldMk cId="2279910091" sldId="415"/>
            <ac:spMk id="2" creationId="{AF377E14-D141-70E9-7907-BE169413C5BA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279910091" sldId="415"/>
            <ac:spMk id="3" creationId="{EF20F648-1B3F-883F-F3A9-C881223126AF}"/>
          </ac:spMkLst>
        </pc:spChg>
        <pc:graphicFrameChg chg="mod modGraphic">
          <ac:chgData name="Dmitriy Shumekov" userId="ffbf198107bbd5ce" providerId="LiveId" clId="{167BE94B-8D3A-4531-9F68-529CDCD9B3C3}" dt="2025-04-15T06:14:12.951" v="2894" actId="3064"/>
          <ac:graphicFrameMkLst>
            <pc:docMk/>
            <pc:sldMk cId="2279910091" sldId="415"/>
            <ac:graphicFrameMk id="4" creationId="{CB695C61-52BE-B27C-1C9B-1E76CE5FF5DF}"/>
          </ac:graphicFrameMkLst>
        </pc:graphicFrameChg>
        <pc:graphicFrameChg chg="add mod">
          <ac:chgData name="Dmitriy Shumekov" userId="ffbf198107bbd5ce" providerId="LiveId" clId="{167BE94B-8D3A-4531-9F68-529CDCD9B3C3}" dt="2025-04-15T06:12:08.701" v="2869"/>
          <ac:graphicFrameMkLst>
            <pc:docMk/>
            <pc:sldMk cId="2279910091" sldId="415"/>
            <ac:graphicFrameMk id="5" creationId="{0A8F10BE-C5A0-5DDC-2F02-9E1A5244A509}"/>
          </ac:graphicFrameMkLst>
        </pc:graphicFrameChg>
        <pc:graphicFrameChg chg="add mod modGraphic">
          <ac:chgData name="Dmitriy Shumekov" userId="ffbf198107bbd5ce" providerId="LiveId" clId="{167BE94B-8D3A-4531-9F68-529CDCD9B3C3}" dt="2025-04-15T06:14:16.773" v="2895" actId="3064"/>
          <ac:graphicFrameMkLst>
            <pc:docMk/>
            <pc:sldMk cId="2279910091" sldId="415"/>
            <ac:graphicFrameMk id="9" creationId="{56BD0233-C202-C831-DB36-5A78F93B126B}"/>
          </ac:graphicFrameMkLst>
        </pc:graphicFrameChg>
        <pc:graphicFrameChg chg="mod">
          <ac:chgData name="Dmitriy Shumekov" userId="ffbf198107bbd5ce" providerId="LiveId" clId="{167BE94B-8D3A-4531-9F68-529CDCD9B3C3}" dt="2025-04-15T06:11:58.950" v="2868" actId="1076"/>
          <ac:graphicFrameMkLst>
            <pc:docMk/>
            <pc:sldMk cId="2279910091" sldId="415"/>
            <ac:graphicFrameMk id="13" creationId="{AB1C1984-7B42-8FB0-BC91-47162C9C5D59}"/>
          </ac:graphicFrameMkLst>
        </pc:graphicFrameChg>
        <pc:graphicFrameChg chg="mod">
          <ac:chgData name="Dmitriy Shumekov" userId="ffbf198107bbd5ce" providerId="LiveId" clId="{167BE94B-8D3A-4531-9F68-529CDCD9B3C3}" dt="2025-04-15T06:09:55.614" v="2857" actId="14100"/>
          <ac:graphicFrameMkLst>
            <pc:docMk/>
            <pc:sldMk cId="2279910091" sldId="415"/>
            <ac:graphicFrameMk id="14" creationId="{C6C74F57-69BF-4890-0C45-70FCD329457E}"/>
          </ac:graphicFrameMkLst>
        </pc:graphicFrameChg>
        <pc:graphicFrameChg chg="mod">
          <ac:chgData name="Dmitriy Shumekov" userId="ffbf198107bbd5ce" providerId="LiveId" clId="{167BE94B-8D3A-4531-9F68-529CDCD9B3C3}" dt="2025-04-15T06:13:56.640" v="2893" actId="1076"/>
          <ac:graphicFrameMkLst>
            <pc:docMk/>
            <pc:sldMk cId="2279910091" sldId="415"/>
            <ac:graphicFrameMk id="15" creationId="{C436CF83-6CBC-641A-0983-09FF8F7FCC04}"/>
          </ac:graphicFrameMkLst>
        </pc:graphicFrameChg>
        <pc:graphicFrameChg chg="add mod modGraphic">
          <ac:chgData name="Dmitriy Shumekov" userId="ffbf198107bbd5ce" providerId="LiveId" clId="{167BE94B-8D3A-4531-9F68-529CDCD9B3C3}" dt="2025-04-15T06:14:20.174" v="2896" actId="3064"/>
          <ac:graphicFrameMkLst>
            <pc:docMk/>
            <pc:sldMk cId="2279910091" sldId="415"/>
            <ac:graphicFrameMk id="16" creationId="{24AB54A8-3EB4-CECA-6B6F-555050B51C04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185866034" sldId="416"/>
        </pc:sldMkLst>
        <pc:spChg chg="mod">
          <ac:chgData name="Dmitriy Shumekov" userId="ffbf198107bbd5ce" providerId="LiveId" clId="{167BE94B-8D3A-4531-9F68-529CDCD9B3C3}" dt="2025-04-15T06:15:42.839" v="2941" actId="404"/>
          <ac:spMkLst>
            <pc:docMk/>
            <pc:sldMk cId="2185866034" sldId="416"/>
            <ac:spMk id="2" creationId="{06C179AB-1C0C-3948-D6B9-36E2C1C26FA7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185866034" sldId="416"/>
            <ac:spMk id="3" creationId="{769C1560-8797-377B-1EA0-2D64A816C290}"/>
          </ac:spMkLst>
        </pc:spChg>
        <pc:graphicFrameChg chg="mod modGraphic">
          <ac:chgData name="Dmitriy Shumekov" userId="ffbf198107bbd5ce" providerId="LiveId" clId="{167BE94B-8D3A-4531-9F68-529CDCD9B3C3}" dt="2025-04-15T06:19:34.133" v="2993" actId="3064"/>
          <ac:graphicFrameMkLst>
            <pc:docMk/>
            <pc:sldMk cId="2185866034" sldId="416"/>
            <ac:graphicFrameMk id="9" creationId="{26D2932D-B042-CE33-74CC-25F7A3A370D9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656431417" sldId="41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656431417" sldId="417"/>
            <ac:spMk id="3" creationId="{3E4D9E8D-E6D8-8ACF-1654-8B84CA82A2D0}"/>
          </ac:spMkLst>
        </pc:spChg>
        <pc:spChg chg="mod">
          <ac:chgData name="Dmitriy Shumekov" userId="ffbf198107bbd5ce" providerId="LiveId" clId="{167BE94B-8D3A-4531-9F68-529CDCD9B3C3}" dt="2025-04-15T06:24:48.491" v="3007" actId="14100"/>
          <ac:spMkLst>
            <pc:docMk/>
            <pc:sldMk cId="3656431417" sldId="417"/>
            <ac:spMk id="5" creationId="{84A9FD30-3803-8C1F-AAD9-2B0AD493A96E}"/>
          </ac:spMkLst>
        </pc:spChg>
        <pc:graphicFrameChg chg="mod modGraphic">
          <ac:chgData name="Dmitriy Shumekov" userId="ffbf198107bbd5ce" providerId="LiveId" clId="{167BE94B-8D3A-4531-9F68-529CDCD9B3C3}" dt="2025-04-15T06:21:10.843" v="3002"/>
          <ac:graphicFrameMkLst>
            <pc:docMk/>
            <pc:sldMk cId="3656431417" sldId="417"/>
            <ac:graphicFrameMk id="9" creationId="{A853A0AB-3619-017E-7CFF-AA41A10A64C8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4035624274" sldId="418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035624274" sldId="418"/>
            <ac:spMk id="3" creationId="{887FC276-9906-4579-01F7-073F9ED4C61E}"/>
          </ac:spMkLst>
        </pc:spChg>
        <pc:spChg chg="mod">
          <ac:chgData name="Dmitriy Shumekov" userId="ffbf198107bbd5ce" providerId="LiveId" clId="{167BE94B-8D3A-4531-9F68-529CDCD9B3C3}" dt="2025-04-15T06:24:41.598" v="3005" actId="14100"/>
          <ac:spMkLst>
            <pc:docMk/>
            <pc:sldMk cId="4035624274" sldId="418"/>
            <ac:spMk id="5" creationId="{A8C6D60B-EB67-E7E3-4135-876B2D763357}"/>
          </ac:spMkLst>
        </pc:spChg>
        <pc:graphicFrameChg chg="mod modGraphic">
          <ac:chgData name="Dmitriy Shumekov" userId="ffbf198107bbd5ce" providerId="LiveId" clId="{167BE94B-8D3A-4531-9F68-529CDCD9B3C3}" dt="2025-04-15T06:21:25.487" v="3003"/>
          <ac:graphicFrameMkLst>
            <pc:docMk/>
            <pc:sldMk cId="4035624274" sldId="418"/>
            <ac:graphicFrameMk id="9" creationId="{2166B710-FD1D-CF5D-0936-98016D83E80A}"/>
          </ac:graphicFrameMkLst>
        </pc:graphicFrameChg>
      </pc:sldChg>
      <pc:sldChg chg="modSp add mod">
        <pc:chgData name="Dmitriy Shumekov" userId="ffbf198107bbd5ce" providerId="LiveId" clId="{167BE94B-8D3A-4531-9F68-529CDCD9B3C3}" dt="2025-04-15T06:26:02.388" v="3035" actId="20577"/>
        <pc:sldMkLst>
          <pc:docMk/>
          <pc:sldMk cId="2581459164" sldId="419"/>
        </pc:sldMkLst>
        <pc:spChg chg="mod">
          <ac:chgData name="Dmitriy Shumekov" userId="ffbf198107bbd5ce" providerId="LiveId" clId="{167BE94B-8D3A-4531-9F68-529CDCD9B3C3}" dt="2025-04-15T06:26:02.388" v="3035" actId="20577"/>
          <ac:spMkLst>
            <pc:docMk/>
            <pc:sldMk cId="2581459164" sldId="419"/>
            <ac:spMk id="6" creationId="{C093CDD6-43FB-2507-5551-8006D7B818F6}"/>
          </ac:spMkLst>
        </pc:spChg>
      </pc:sldChg>
      <pc:sldChg chg="modSp add mod">
        <pc:chgData name="Dmitriy Shumekov" userId="ffbf198107bbd5ce" providerId="LiveId" clId="{167BE94B-8D3A-4531-9F68-529CDCD9B3C3}" dt="2025-04-15T06:26:22.423" v="3082" actId="20577"/>
        <pc:sldMkLst>
          <pc:docMk/>
          <pc:sldMk cId="4118712053" sldId="420"/>
        </pc:sldMkLst>
        <pc:spChg chg="mod">
          <ac:chgData name="Dmitriy Shumekov" userId="ffbf198107bbd5ce" providerId="LiveId" clId="{167BE94B-8D3A-4531-9F68-529CDCD9B3C3}" dt="2025-04-15T06:26:22.423" v="3082" actId="20577"/>
          <ac:spMkLst>
            <pc:docMk/>
            <pc:sldMk cId="4118712053" sldId="420"/>
            <ac:spMk id="6" creationId="{CC7154EA-2D81-B889-26A7-B8D2951F3E72}"/>
          </ac:spMkLst>
        </pc:spChg>
      </pc:sldChg>
      <pc:sldChg chg="modSp add mod">
        <pc:chgData name="Dmitriy Shumekov" userId="ffbf198107bbd5ce" providerId="LiveId" clId="{167BE94B-8D3A-4531-9F68-529CDCD9B3C3}" dt="2025-04-15T06:26:38.492" v="3116" actId="20577"/>
        <pc:sldMkLst>
          <pc:docMk/>
          <pc:sldMk cId="2903714362" sldId="421"/>
        </pc:sldMkLst>
        <pc:spChg chg="mod">
          <ac:chgData name="Dmitriy Shumekov" userId="ffbf198107bbd5ce" providerId="LiveId" clId="{167BE94B-8D3A-4531-9F68-529CDCD9B3C3}" dt="2025-04-15T06:26:38.492" v="3116" actId="20577"/>
          <ac:spMkLst>
            <pc:docMk/>
            <pc:sldMk cId="2903714362" sldId="421"/>
            <ac:spMk id="6" creationId="{2FA81943-EDB6-BC9A-A3BC-9C6DB4E1B6F0}"/>
          </ac:spMkLst>
        </pc:sp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296050442" sldId="42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296050442" sldId="422"/>
            <ac:spMk id="3" creationId="{B0322C44-B8CB-244B-9DD8-6CF441CA9827}"/>
          </ac:spMkLst>
        </pc:spChg>
        <pc:spChg chg="mod">
          <ac:chgData name="Dmitriy Shumekov" userId="ffbf198107bbd5ce" providerId="LiveId" clId="{167BE94B-8D3A-4531-9F68-529CDCD9B3C3}" dt="2025-04-15T06:36:25.342" v="3214" actId="20577"/>
          <ac:spMkLst>
            <pc:docMk/>
            <pc:sldMk cId="2296050442" sldId="422"/>
            <ac:spMk id="10" creationId="{CD28AC37-8FDD-1CE7-69F9-523D79CC8A44}"/>
          </ac:spMkLst>
        </pc:spChg>
        <pc:spChg chg="mod">
          <ac:chgData name="Dmitriy Shumekov" userId="ffbf198107bbd5ce" providerId="LiveId" clId="{167BE94B-8D3A-4531-9F68-529CDCD9B3C3}" dt="2025-04-15T06:51:09.755" v="3333" actId="20577"/>
          <ac:spMkLst>
            <pc:docMk/>
            <pc:sldMk cId="2296050442" sldId="422"/>
            <ac:spMk id="11" creationId="{0654215A-8E8A-DC46-F060-F359B49BC8F9}"/>
          </ac:spMkLst>
        </pc:spChg>
        <pc:spChg chg="mod">
          <ac:chgData name="Dmitriy Shumekov" userId="ffbf198107bbd5ce" providerId="LiveId" clId="{167BE94B-8D3A-4531-9F68-529CDCD9B3C3}" dt="2025-04-15T06:36:14.654" v="3211" actId="20577"/>
          <ac:spMkLst>
            <pc:docMk/>
            <pc:sldMk cId="2296050442" sldId="422"/>
            <ac:spMk id="12" creationId="{1DBCC0FE-22A3-FB05-7ED6-C29085CCD1FF}"/>
          </ac:spMkLst>
        </pc:spChg>
        <pc:spChg chg="mod">
          <ac:chgData name="Dmitriy Shumekov" userId="ffbf198107bbd5ce" providerId="LiveId" clId="{167BE94B-8D3A-4531-9F68-529CDCD9B3C3}" dt="2025-04-15T06:31:42.026" v="3144" actId="14100"/>
          <ac:spMkLst>
            <pc:docMk/>
            <pc:sldMk cId="2296050442" sldId="422"/>
            <ac:spMk id="37" creationId="{460CB8ED-5453-6DF2-5045-CAC04B06AB5C}"/>
          </ac:spMkLst>
        </pc:spChg>
        <pc:graphicFrameChg chg="mod modGraphic">
          <ac:chgData name="Dmitriy Shumekov" userId="ffbf198107bbd5ce" providerId="LiveId" clId="{167BE94B-8D3A-4531-9F68-529CDCD9B3C3}" dt="2025-04-15T06:38:06.864" v="3236" actId="3064"/>
          <ac:graphicFrameMkLst>
            <pc:docMk/>
            <pc:sldMk cId="2296050442" sldId="422"/>
            <ac:graphicFrameMk id="4" creationId="{A3C07840-DEB5-E069-C00F-F73F20A5EDBE}"/>
          </ac:graphicFrameMkLst>
        </pc:graphicFrameChg>
        <pc:graphicFrameChg chg="mod modGraphic">
          <ac:chgData name="Dmitriy Shumekov" userId="ffbf198107bbd5ce" providerId="LiveId" clId="{167BE94B-8D3A-4531-9F68-529CDCD9B3C3}" dt="2025-04-15T06:38:13.322" v="3238" actId="3064"/>
          <ac:graphicFrameMkLst>
            <pc:docMk/>
            <pc:sldMk cId="2296050442" sldId="422"/>
            <ac:graphicFrameMk id="17" creationId="{96CAE732-78AE-E8F4-330B-8A5802A88AFE}"/>
          </ac:graphicFrameMkLst>
        </pc:graphicFrameChg>
        <pc:graphicFrameChg chg="mod modGraphic">
          <ac:chgData name="Dmitriy Shumekov" userId="ffbf198107bbd5ce" providerId="LiveId" clId="{167BE94B-8D3A-4531-9F68-529CDCD9B3C3}" dt="2025-04-15T06:38:19.320" v="3240" actId="3064"/>
          <ac:graphicFrameMkLst>
            <pc:docMk/>
            <pc:sldMk cId="2296050442" sldId="422"/>
            <ac:graphicFrameMk id="18" creationId="{C6E58794-D5F9-495D-CA21-220B72119D22}"/>
          </ac:graphicFrameMkLst>
        </pc:graphicFrameChg>
        <pc:graphicFrameChg chg="mod modGraphic">
          <ac:chgData name="Dmitriy Shumekov" userId="ffbf198107bbd5ce" providerId="LiveId" clId="{167BE94B-8D3A-4531-9F68-529CDCD9B3C3}" dt="2025-04-15T06:39:27.834" v="3253" actId="3064"/>
          <ac:graphicFrameMkLst>
            <pc:docMk/>
            <pc:sldMk cId="2296050442" sldId="422"/>
            <ac:graphicFrameMk id="19" creationId="{55B63162-6767-A632-0653-66858071A87A}"/>
          </ac:graphicFrameMkLst>
        </pc:graphicFrameChg>
        <pc:graphicFrameChg chg="mod modGraphic">
          <ac:chgData name="Dmitriy Shumekov" userId="ffbf198107bbd5ce" providerId="LiveId" clId="{167BE94B-8D3A-4531-9F68-529CDCD9B3C3}" dt="2025-04-15T06:39:33.712" v="3255" actId="3064"/>
          <ac:graphicFrameMkLst>
            <pc:docMk/>
            <pc:sldMk cId="2296050442" sldId="422"/>
            <ac:graphicFrameMk id="24" creationId="{C00E178E-A00E-860A-7029-82BA0BFC165C}"/>
          </ac:graphicFrameMkLst>
        </pc:graphicFrameChg>
        <pc:graphicFrameChg chg="mod modGraphic">
          <ac:chgData name="Dmitriy Shumekov" userId="ffbf198107bbd5ce" providerId="LiveId" clId="{167BE94B-8D3A-4531-9F68-529CDCD9B3C3}" dt="2025-04-15T06:39:39.524" v="3257" actId="3064"/>
          <ac:graphicFrameMkLst>
            <pc:docMk/>
            <pc:sldMk cId="2296050442" sldId="422"/>
            <ac:graphicFrameMk id="25" creationId="{9E48A2DB-1EF7-8D6F-7DD7-4F307A37361A}"/>
          </ac:graphicFrameMkLst>
        </pc:graphicFrameChg>
        <pc:graphicFrameChg chg="mod modGraphic">
          <ac:chgData name="Dmitriy Shumekov" userId="ffbf198107bbd5ce" providerId="LiveId" clId="{167BE94B-8D3A-4531-9F68-529CDCD9B3C3}" dt="2025-04-15T06:41:12.306" v="3268" actId="3064"/>
          <ac:graphicFrameMkLst>
            <pc:docMk/>
            <pc:sldMk cId="2296050442" sldId="422"/>
            <ac:graphicFrameMk id="31" creationId="{75B324E1-236D-C8EA-F09D-91E6C6D196F4}"/>
          </ac:graphicFrameMkLst>
        </pc:graphicFrameChg>
        <pc:graphicFrameChg chg="mod modGraphic">
          <ac:chgData name="Dmitriy Shumekov" userId="ffbf198107bbd5ce" providerId="LiveId" clId="{167BE94B-8D3A-4531-9F68-529CDCD9B3C3}" dt="2025-04-15T06:41:17.334" v="3270" actId="3064"/>
          <ac:graphicFrameMkLst>
            <pc:docMk/>
            <pc:sldMk cId="2296050442" sldId="422"/>
            <ac:graphicFrameMk id="35" creationId="{B0108134-E27A-2998-4D83-031FD3859A63}"/>
          </ac:graphicFrameMkLst>
        </pc:graphicFrameChg>
        <pc:graphicFrameChg chg="mod modGraphic">
          <ac:chgData name="Dmitriy Shumekov" userId="ffbf198107bbd5ce" providerId="LiveId" clId="{167BE94B-8D3A-4531-9F68-529CDCD9B3C3}" dt="2025-04-15T06:41:22.448" v="3272" actId="3064"/>
          <ac:graphicFrameMkLst>
            <pc:docMk/>
            <pc:sldMk cId="2296050442" sldId="422"/>
            <ac:graphicFrameMk id="36" creationId="{95CE3762-A211-218A-CB39-3AEC55DD8068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859861533" sldId="423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859861533" sldId="423"/>
            <ac:spMk id="3" creationId="{F11170C3-3490-3B08-4E10-C60F08770AA8}"/>
          </ac:spMkLst>
        </pc:spChg>
        <pc:spChg chg="del">
          <ac:chgData name="Dmitriy Shumekov" userId="ffbf198107bbd5ce" providerId="LiveId" clId="{167BE94B-8D3A-4531-9F68-529CDCD9B3C3}" dt="2025-04-15T06:36:40.891" v="3220" actId="478"/>
          <ac:spMkLst>
            <pc:docMk/>
            <pc:sldMk cId="3859861533" sldId="423"/>
            <ac:spMk id="5" creationId="{D705D211-72BE-B479-515C-A4BD47A73CA8}"/>
          </ac:spMkLst>
        </pc:spChg>
        <pc:spChg chg="del mod">
          <ac:chgData name="Dmitriy Shumekov" userId="ffbf198107bbd5ce" providerId="LiveId" clId="{167BE94B-8D3A-4531-9F68-529CDCD9B3C3}" dt="2025-04-15T06:31:48.415" v="3146" actId="478"/>
          <ac:spMkLst>
            <pc:docMk/>
            <pc:sldMk cId="3859861533" sldId="423"/>
            <ac:spMk id="9" creationId="{9C4D65C0-435D-0856-B0A1-D5C88D603585}"/>
          </ac:spMkLst>
        </pc:spChg>
        <pc:spChg chg="add del">
          <ac:chgData name="Dmitriy Shumekov" userId="ffbf198107bbd5ce" providerId="LiveId" clId="{167BE94B-8D3A-4531-9F68-529CDCD9B3C3}" dt="2025-04-15T06:31:50.424" v="3148" actId="22"/>
          <ac:spMkLst>
            <pc:docMk/>
            <pc:sldMk cId="3859861533" sldId="423"/>
            <ac:spMk id="11" creationId="{AB6FAE0D-DC80-A3DE-6A25-3CAEE2DE2AD8}"/>
          </ac:spMkLst>
        </pc:spChg>
        <pc:spChg chg="add mod">
          <ac:chgData name="Dmitriy Shumekov" userId="ffbf198107bbd5ce" providerId="LiveId" clId="{167BE94B-8D3A-4531-9F68-529CDCD9B3C3}" dt="2025-04-15T06:31:54.019" v="3149"/>
          <ac:spMkLst>
            <pc:docMk/>
            <pc:sldMk cId="3859861533" sldId="423"/>
            <ac:spMk id="12" creationId="{29B3275F-8B17-7FAE-E0E5-8DC616AACF7C}"/>
          </ac:spMkLst>
        </pc:spChg>
        <pc:spChg chg="del">
          <ac:chgData name="Dmitriy Shumekov" userId="ffbf198107bbd5ce" providerId="LiveId" clId="{167BE94B-8D3A-4531-9F68-529CDCD9B3C3}" dt="2025-04-15T06:36:40.891" v="3220" actId="478"/>
          <ac:spMkLst>
            <pc:docMk/>
            <pc:sldMk cId="3859861533" sldId="423"/>
            <ac:spMk id="16" creationId="{575F968E-74FB-AB6A-0A2E-EC5643068296}"/>
          </ac:spMkLst>
        </pc:spChg>
        <pc:spChg chg="del">
          <ac:chgData name="Dmitriy Shumekov" userId="ffbf198107bbd5ce" providerId="LiveId" clId="{167BE94B-8D3A-4531-9F68-529CDCD9B3C3}" dt="2025-04-15T06:36:40.891" v="3220" actId="478"/>
          <ac:spMkLst>
            <pc:docMk/>
            <pc:sldMk cId="3859861533" sldId="423"/>
            <ac:spMk id="23" creationId="{56AD6393-8DCF-552C-C41F-C8CB261F8D1E}"/>
          </ac:spMkLst>
        </pc:spChg>
        <pc:spChg chg="add mod">
          <ac:chgData name="Dmitriy Shumekov" userId="ffbf198107bbd5ce" providerId="LiveId" clId="{167BE94B-8D3A-4531-9F68-529CDCD9B3C3}" dt="2025-04-15T06:36:41.553" v="3221"/>
          <ac:spMkLst>
            <pc:docMk/>
            <pc:sldMk cId="3859861533" sldId="423"/>
            <ac:spMk id="26" creationId="{3DF33CD9-7B9C-63AB-9498-347F46191705}"/>
          </ac:spMkLst>
        </pc:spChg>
        <pc:spChg chg="add mod">
          <ac:chgData name="Dmitriy Shumekov" userId="ffbf198107bbd5ce" providerId="LiveId" clId="{167BE94B-8D3A-4531-9F68-529CDCD9B3C3}" dt="2025-04-15T06:36:41.553" v="3221"/>
          <ac:spMkLst>
            <pc:docMk/>
            <pc:sldMk cId="3859861533" sldId="423"/>
            <ac:spMk id="27" creationId="{9EA89F01-6C43-8E17-1D06-00337F5B25C4}"/>
          </ac:spMkLst>
        </pc:spChg>
        <pc:spChg chg="add mod">
          <ac:chgData name="Dmitriy Shumekov" userId="ffbf198107bbd5ce" providerId="LiveId" clId="{167BE94B-8D3A-4531-9F68-529CDCD9B3C3}" dt="2025-04-15T06:51:06.866" v="3332" actId="20577"/>
          <ac:spMkLst>
            <pc:docMk/>
            <pc:sldMk cId="3859861533" sldId="423"/>
            <ac:spMk id="28" creationId="{F029AB5F-056E-8F86-B9A9-0E5FD462AF32}"/>
          </ac:spMkLst>
        </pc:spChg>
        <pc:graphicFrameChg chg="mod modGraphic">
          <ac:chgData name="Dmitriy Shumekov" userId="ffbf198107bbd5ce" providerId="LiveId" clId="{167BE94B-8D3A-4531-9F68-529CDCD9B3C3}" dt="2025-04-15T06:42:34.140" v="3285" actId="3064"/>
          <ac:graphicFrameMkLst>
            <pc:docMk/>
            <pc:sldMk cId="3859861533" sldId="423"/>
            <ac:graphicFrameMk id="4" creationId="{280CE09D-EEEE-FCB9-EAA7-73E24713FDB2}"/>
          </ac:graphicFrameMkLst>
        </pc:graphicFrameChg>
        <pc:graphicFrameChg chg="mod">
          <ac:chgData name="Dmitriy Shumekov" userId="ffbf198107bbd5ce" providerId="LiveId" clId="{167BE94B-8D3A-4531-9F68-529CDCD9B3C3}" dt="2025-04-15T06:44:00.055" v="3301" actId="14100"/>
          <ac:graphicFrameMkLst>
            <pc:docMk/>
            <pc:sldMk cId="3859861533" sldId="423"/>
            <ac:graphicFrameMk id="14" creationId="{1EF2598C-D853-7EE8-9DDC-DC97FD694985}"/>
          </ac:graphicFrameMkLst>
        </pc:graphicFrameChg>
        <pc:graphicFrameChg chg="mod modGraphic">
          <ac:chgData name="Dmitriy Shumekov" userId="ffbf198107bbd5ce" providerId="LiveId" clId="{167BE94B-8D3A-4531-9F68-529CDCD9B3C3}" dt="2025-04-15T06:42:39.246" v="3287" actId="3064"/>
          <ac:graphicFrameMkLst>
            <pc:docMk/>
            <pc:sldMk cId="3859861533" sldId="423"/>
            <ac:graphicFrameMk id="17" creationId="{2F80E2D9-746A-0FEF-312B-3A9B1386709A}"/>
          </ac:graphicFrameMkLst>
        </pc:graphicFrameChg>
        <pc:graphicFrameChg chg="mod modGraphic">
          <ac:chgData name="Dmitriy Shumekov" userId="ffbf198107bbd5ce" providerId="LiveId" clId="{167BE94B-8D3A-4531-9F68-529CDCD9B3C3}" dt="2025-04-15T06:42:45.011" v="3289" actId="3064"/>
          <ac:graphicFrameMkLst>
            <pc:docMk/>
            <pc:sldMk cId="3859861533" sldId="423"/>
            <ac:graphicFrameMk id="18" creationId="{8F080E2D-2A90-8B79-2AEC-FD03A1BA7255}"/>
          </ac:graphicFrameMkLst>
        </pc:graphicFrameChg>
        <pc:graphicFrameChg chg="mod modGraphic">
          <ac:chgData name="Dmitriy Shumekov" userId="ffbf198107bbd5ce" providerId="LiveId" clId="{167BE94B-8D3A-4531-9F68-529CDCD9B3C3}" dt="2025-04-15T06:44:44.906" v="3306" actId="3064"/>
          <ac:graphicFrameMkLst>
            <pc:docMk/>
            <pc:sldMk cId="3859861533" sldId="423"/>
            <ac:graphicFrameMk id="19" creationId="{35B5B66B-AA9E-5AEC-28A5-BB8C3C939A54}"/>
          </ac:graphicFrameMkLst>
        </pc:graphicFrameChg>
        <pc:graphicFrameChg chg="mod">
          <ac:chgData name="Dmitriy Shumekov" userId="ffbf198107bbd5ce" providerId="LiveId" clId="{167BE94B-8D3A-4531-9F68-529CDCD9B3C3}" dt="2025-04-15T06:43:54.841" v="3300" actId="14100"/>
          <ac:graphicFrameMkLst>
            <pc:docMk/>
            <pc:sldMk cId="3859861533" sldId="423"/>
            <ac:graphicFrameMk id="21" creationId="{7637A660-9B93-06B2-8412-9DBA4747321F}"/>
          </ac:graphicFrameMkLst>
        </pc:graphicFrameChg>
        <pc:graphicFrameChg chg="mod modGraphic">
          <ac:chgData name="Dmitriy Shumekov" userId="ffbf198107bbd5ce" providerId="LiveId" clId="{167BE94B-8D3A-4531-9F68-529CDCD9B3C3}" dt="2025-04-15T06:44:50.543" v="3308" actId="3064"/>
          <ac:graphicFrameMkLst>
            <pc:docMk/>
            <pc:sldMk cId="3859861533" sldId="423"/>
            <ac:graphicFrameMk id="24" creationId="{D58CA375-668F-BCC1-3B26-3C83E87DC931}"/>
          </ac:graphicFrameMkLst>
        </pc:graphicFrameChg>
        <pc:graphicFrameChg chg="mod modGraphic">
          <ac:chgData name="Dmitriy Shumekov" userId="ffbf198107bbd5ce" providerId="LiveId" clId="{167BE94B-8D3A-4531-9F68-529CDCD9B3C3}" dt="2025-04-15T06:44:55.114" v="3310" actId="3064"/>
          <ac:graphicFrameMkLst>
            <pc:docMk/>
            <pc:sldMk cId="3859861533" sldId="423"/>
            <ac:graphicFrameMk id="25" creationId="{886027E8-711E-4155-7627-5E2BAABD8EBD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849234175" sldId="424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849234175" sldId="424"/>
            <ac:spMk id="3" creationId="{721F4E90-31DB-7032-A705-79F596803E74}"/>
          </ac:spMkLst>
        </pc:spChg>
        <pc:spChg chg="add mod">
          <ac:chgData name="Dmitriy Shumekov" userId="ffbf198107bbd5ce" providerId="LiveId" clId="{167BE94B-8D3A-4531-9F68-529CDCD9B3C3}" dt="2025-04-15T06:31:57.307" v="3151"/>
          <ac:spMkLst>
            <pc:docMk/>
            <pc:sldMk cId="3849234175" sldId="424"/>
            <ac:spMk id="5" creationId="{7C34EE96-DA67-F579-8C3B-AD654FA9CE8A}"/>
          </ac:spMkLst>
        </pc:spChg>
        <pc:spChg chg="add mod">
          <ac:chgData name="Dmitriy Shumekov" userId="ffbf198107bbd5ce" providerId="LiveId" clId="{167BE94B-8D3A-4531-9F68-529CDCD9B3C3}" dt="2025-04-15T06:36:46.033" v="3223"/>
          <ac:spMkLst>
            <pc:docMk/>
            <pc:sldMk cId="3849234175" sldId="424"/>
            <ac:spMk id="9" creationId="{06E16F71-6B9E-D2B0-9580-C1C83570F047}"/>
          </ac:spMkLst>
        </pc:spChg>
        <pc:spChg chg="del">
          <ac:chgData name="Dmitriy Shumekov" userId="ffbf198107bbd5ce" providerId="LiveId" clId="{167BE94B-8D3A-4531-9F68-529CDCD9B3C3}" dt="2025-04-15T06:36:45.665" v="3222" actId="478"/>
          <ac:spMkLst>
            <pc:docMk/>
            <pc:sldMk cId="3849234175" sldId="424"/>
            <ac:spMk id="10" creationId="{912ECCEE-8CE0-5988-E6AF-049FBE2CF53A}"/>
          </ac:spMkLst>
        </pc:spChg>
        <pc:spChg chg="del">
          <ac:chgData name="Dmitriy Shumekov" userId="ffbf198107bbd5ce" providerId="LiveId" clId="{167BE94B-8D3A-4531-9F68-529CDCD9B3C3}" dt="2025-04-15T06:36:45.665" v="3222" actId="478"/>
          <ac:spMkLst>
            <pc:docMk/>
            <pc:sldMk cId="3849234175" sldId="424"/>
            <ac:spMk id="11" creationId="{F6512DE9-9A05-85D9-D2AB-375964661594}"/>
          </ac:spMkLst>
        </pc:spChg>
        <pc:spChg chg="del">
          <ac:chgData name="Dmitriy Shumekov" userId="ffbf198107bbd5ce" providerId="LiveId" clId="{167BE94B-8D3A-4531-9F68-529CDCD9B3C3}" dt="2025-04-15T06:36:45.665" v="3222" actId="478"/>
          <ac:spMkLst>
            <pc:docMk/>
            <pc:sldMk cId="3849234175" sldId="424"/>
            <ac:spMk id="12" creationId="{E9DE15D1-06FB-D75B-CD32-C3AFF7B29FCB}"/>
          </ac:spMkLst>
        </pc:spChg>
        <pc:spChg chg="add mod">
          <ac:chgData name="Dmitriy Shumekov" userId="ffbf198107bbd5ce" providerId="LiveId" clId="{167BE94B-8D3A-4531-9F68-529CDCD9B3C3}" dt="2025-04-15T06:36:46.033" v="3223"/>
          <ac:spMkLst>
            <pc:docMk/>
            <pc:sldMk cId="3849234175" sldId="424"/>
            <ac:spMk id="16" creationId="{A8E41A11-44C9-BD46-962C-11F17EFBFD6A}"/>
          </ac:spMkLst>
        </pc:spChg>
        <pc:spChg chg="add mod">
          <ac:chgData name="Dmitriy Shumekov" userId="ffbf198107bbd5ce" providerId="LiveId" clId="{167BE94B-8D3A-4531-9F68-529CDCD9B3C3}" dt="2025-04-15T06:51:02.937" v="3331" actId="20577"/>
          <ac:spMkLst>
            <pc:docMk/>
            <pc:sldMk cId="3849234175" sldId="424"/>
            <ac:spMk id="17" creationId="{5BF0CAC8-EAEB-495F-7AA1-C7ED75BD342D}"/>
          </ac:spMkLst>
        </pc:spChg>
        <pc:spChg chg="del">
          <ac:chgData name="Dmitriy Shumekov" userId="ffbf198107bbd5ce" providerId="LiveId" clId="{167BE94B-8D3A-4531-9F68-529CDCD9B3C3}" dt="2025-04-15T06:31:57.027" v="3150" actId="478"/>
          <ac:spMkLst>
            <pc:docMk/>
            <pc:sldMk cId="3849234175" sldId="424"/>
            <ac:spMk id="37" creationId="{52CCCCBC-6F8E-D1E0-73FC-756754A860B4}"/>
          </ac:spMkLst>
        </pc:spChg>
        <pc:graphicFrameChg chg="mod">
          <ac:chgData name="Dmitriy Shumekov" userId="ffbf198107bbd5ce" providerId="LiveId" clId="{167BE94B-8D3A-4531-9F68-529CDCD9B3C3}" dt="2025-04-15T06:46:04.450" v="3325"/>
          <ac:graphicFrameMkLst>
            <pc:docMk/>
            <pc:sldMk cId="3849234175" sldId="424"/>
            <ac:graphicFrameMk id="13" creationId="{64D802E0-81CC-07F5-CC45-703AC62D35E0}"/>
          </ac:graphicFrameMkLst>
        </pc:graphicFrameChg>
        <pc:graphicFrameChg chg="mod">
          <ac:chgData name="Dmitriy Shumekov" userId="ffbf198107bbd5ce" providerId="LiveId" clId="{167BE94B-8D3A-4531-9F68-529CDCD9B3C3}" dt="2025-04-15T06:45:56.113" v="3322" actId="14100"/>
          <ac:graphicFrameMkLst>
            <pc:docMk/>
            <pc:sldMk cId="3849234175" sldId="424"/>
            <ac:graphicFrameMk id="15" creationId="{214889B9-B24D-E25F-E0E6-546BEAB1CCF9}"/>
          </ac:graphicFrameMkLst>
        </pc:graphicFrameChg>
      </pc:sldChg>
      <pc:sldChg chg="add del">
        <pc:chgData name="Dmitriy Shumekov" userId="ffbf198107bbd5ce" providerId="LiveId" clId="{167BE94B-8D3A-4531-9F68-529CDCD9B3C3}" dt="2025-04-15T06:32:05.619" v="3152" actId="47"/>
        <pc:sldMkLst>
          <pc:docMk/>
          <pc:sldMk cId="1596731302" sldId="425"/>
        </pc:sldMkLst>
      </pc:sldChg>
      <pc:sldChg chg="addSp modSp add mod">
        <pc:chgData name="Dmitriy Shumekov" userId="ffbf198107bbd5ce" providerId="LiveId" clId="{167BE94B-8D3A-4531-9F68-529CDCD9B3C3}" dt="2025-04-16T11:10:05.877" v="5298"/>
        <pc:sldMkLst>
          <pc:docMk/>
          <pc:sldMk cId="2180644869" sldId="426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180644869" sldId="426"/>
            <ac:spMk id="3" creationId="{789C648E-DDEC-5196-B4D2-A9A77689A056}"/>
          </ac:spMkLst>
        </pc:spChg>
        <pc:spChg chg="add mod">
          <ac:chgData name="Dmitriy Shumekov" userId="ffbf198107bbd5ce" providerId="LiveId" clId="{167BE94B-8D3A-4531-9F68-529CDCD9B3C3}" dt="2025-04-15T06:32:09.377" v="3153"/>
          <ac:spMkLst>
            <pc:docMk/>
            <pc:sldMk cId="2180644869" sldId="426"/>
            <ac:spMk id="4" creationId="{1601BA5B-C0EC-2ECE-C6CA-938D6F4B6422}"/>
          </ac:spMkLst>
        </pc:spChg>
        <pc:spChg chg="mod">
          <ac:chgData name="Dmitriy Shumekov" userId="ffbf198107bbd5ce" providerId="LiveId" clId="{167BE94B-8D3A-4531-9F68-529CDCD9B3C3}" dt="2025-04-15T06:32:19.275" v="3176" actId="14100"/>
          <ac:spMkLst>
            <pc:docMk/>
            <pc:sldMk cId="2180644869" sldId="426"/>
            <ac:spMk id="5" creationId="{45FA9FE5-63DF-7CEC-AAC0-1786FE0374B5}"/>
          </ac:spMkLst>
        </pc:spChg>
        <pc:graphicFrameChg chg="mod modGraphic">
          <ac:chgData name="Dmitriy Shumekov" userId="ffbf198107bbd5ce" providerId="LiveId" clId="{167BE94B-8D3A-4531-9F68-529CDCD9B3C3}" dt="2025-04-15T06:51:44.079" v="3334"/>
          <ac:graphicFrameMkLst>
            <pc:docMk/>
            <pc:sldMk cId="2180644869" sldId="426"/>
            <ac:graphicFrameMk id="9" creationId="{EBEB5C05-89A3-1902-8386-E3F9DAA0068B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539443677" sldId="42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539443677" sldId="427"/>
            <ac:spMk id="3" creationId="{CD508D99-F2EE-2322-35F7-550E3E65CD83}"/>
          </ac:spMkLst>
        </pc:spChg>
        <pc:spChg chg="mod">
          <ac:chgData name="Dmitriy Shumekov" userId="ffbf198107bbd5ce" providerId="LiveId" clId="{167BE94B-8D3A-4531-9F68-529CDCD9B3C3}" dt="2025-04-15T06:32:28.940" v="3180" actId="14100"/>
          <ac:spMkLst>
            <pc:docMk/>
            <pc:sldMk cId="1539443677" sldId="427"/>
            <ac:spMk id="5" creationId="{972B53DE-3698-87A0-692C-FF6FF5486F4D}"/>
          </ac:spMkLst>
        </pc:spChg>
        <pc:graphicFrameChg chg="mod modGraphic">
          <ac:chgData name="Dmitriy Shumekov" userId="ffbf198107bbd5ce" providerId="LiveId" clId="{167BE94B-8D3A-4531-9F68-529CDCD9B3C3}" dt="2025-04-15T06:51:52.344" v="3336" actId="3064"/>
          <ac:graphicFrameMkLst>
            <pc:docMk/>
            <pc:sldMk cId="1539443677" sldId="427"/>
            <ac:graphicFrameMk id="9" creationId="{19FF0F1B-E66B-8724-6262-3AE9A6307E12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507209113" sldId="428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507209113" sldId="428"/>
            <ac:spMk id="3" creationId="{59F78FE3-572D-0239-D94F-D4549D324DE9}"/>
          </ac:spMkLst>
        </pc:spChg>
        <pc:spChg chg="mod">
          <ac:chgData name="Dmitriy Shumekov" userId="ffbf198107bbd5ce" providerId="LiveId" clId="{167BE94B-8D3A-4531-9F68-529CDCD9B3C3}" dt="2025-04-15T06:32:33.579" v="3182" actId="14100"/>
          <ac:spMkLst>
            <pc:docMk/>
            <pc:sldMk cId="1507209113" sldId="428"/>
            <ac:spMk id="5" creationId="{C8927A1E-A1B8-BFF5-59EB-AF2D7378F734}"/>
          </ac:spMkLst>
        </pc:spChg>
      </pc:sldChg>
      <pc:sldChg chg="add del">
        <pc:chgData name="Dmitriy Shumekov" userId="ffbf198107bbd5ce" providerId="LiveId" clId="{167BE94B-8D3A-4531-9F68-529CDCD9B3C3}" dt="2025-04-15T06:32:40.034" v="3183" actId="47"/>
        <pc:sldMkLst>
          <pc:docMk/>
          <pc:sldMk cId="2437238544" sldId="429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418430393" sldId="430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418430393" sldId="430"/>
            <ac:spMk id="3" creationId="{475997EB-999B-10FA-9F1E-0648F322B9A1}"/>
          </ac:spMkLst>
        </pc:spChg>
        <pc:spChg chg="mod">
          <ac:chgData name="Dmitriy Shumekov" userId="ffbf198107bbd5ce" providerId="LiveId" clId="{167BE94B-8D3A-4531-9F68-529CDCD9B3C3}" dt="2025-04-15T06:32:52.537" v="3192" actId="14100"/>
          <ac:spMkLst>
            <pc:docMk/>
            <pc:sldMk cId="2418430393" sldId="430"/>
            <ac:spMk id="5" creationId="{8342BA57-E981-5CD8-C7CC-E768693FE405}"/>
          </ac:spMkLst>
        </pc:spChg>
        <pc:graphicFrameChg chg="mod modGraphic">
          <ac:chgData name="Dmitriy Shumekov" userId="ffbf198107bbd5ce" providerId="LiveId" clId="{167BE94B-8D3A-4531-9F68-529CDCD9B3C3}" dt="2025-04-15T06:50:33.507" v="3329" actId="3064"/>
          <ac:graphicFrameMkLst>
            <pc:docMk/>
            <pc:sldMk cId="2418430393" sldId="430"/>
            <ac:graphicFrameMk id="9" creationId="{61AD69F2-F602-2D1E-D112-4EBD4D75052C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565822891" sldId="431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565822891" sldId="431"/>
            <ac:spMk id="3" creationId="{33D14581-133B-8A78-CDE2-69D42959C526}"/>
          </ac:spMkLst>
        </pc:spChg>
        <pc:spChg chg="mod">
          <ac:chgData name="Dmitriy Shumekov" userId="ffbf198107bbd5ce" providerId="LiveId" clId="{167BE94B-8D3A-4531-9F68-529CDCD9B3C3}" dt="2025-04-15T06:32:57.396" v="3194" actId="14100"/>
          <ac:spMkLst>
            <pc:docMk/>
            <pc:sldMk cId="1565822891" sldId="431"/>
            <ac:spMk id="4" creationId="{AACDD3AF-C2AE-1CFB-CC7E-5C308C38DA08}"/>
          </ac:spMkLst>
        </pc:spChg>
        <pc:graphicFrameChg chg="mod">
          <ac:chgData name="Dmitriy Shumekov" userId="ffbf198107bbd5ce" providerId="LiveId" clId="{167BE94B-8D3A-4531-9F68-529CDCD9B3C3}" dt="2025-04-15T06:52:12.357" v="3337"/>
          <ac:graphicFrameMkLst>
            <pc:docMk/>
            <pc:sldMk cId="1565822891" sldId="431"/>
            <ac:graphicFrameMk id="9" creationId="{E592FE56-5030-23C3-0208-63992040685F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773585734" sldId="43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773585734" sldId="432"/>
            <ac:spMk id="3" creationId="{785A89CE-A96E-2B05-801A-DC2D563A7444}"/>
          </ac:spMkLst>
        </pc:spChg>
        <pc:spChg chg="mod">
          <ac:chgData name="Dmitriy Shumekov" userId="ffbf198107bbd5ce" providerId="LiveId" clId="{167BE94B-8D3A-4531-9F68-529CDCD9B3C3}" dt="2025-04-15T06:33:01.667" v="3196" actId="14100"/>
          <ac:spMkLst>
            <pc:docMk/>
            <pc:sldMk cId="2773585734" sldId="432"/>
            <ac:spMk id="4" creationId="{07BF419E-BD53-8B66-DBBC-0B5C4F176706}"/>
          </ac:spMkLst>
        </pc:spChg>
      </pc:sldChg>
      <pc:sldChg chg="add del">
        <pc:chgData name="Dmitriy Shumekov" userId="ffbf198107bbd5ce" providerId="LiveId" clId="{167BE94B-8D3A-4531-9F68-529CDCD9B3C3}" dt="2025-04-15T06:33:04.193" v="3197" actId="47"/>
        <pc:sldMkLst>
          <pc:docMk/>
          <pc:sldMk cId="870279698" sldId="433"/>
        </pc:sldMkLst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092134645" sldId="434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092134645" sldId="434"/>
            <ac:spMk id="3" creationId="{B25BB03A-85A3-E066-2D4A-6A9BA1DAB657}"/>
          </ac:spMkLst>
        </pc:spChg>
        <pc:spChg chg="mod">
          <ac:chgData name="Dmitriy Shumekov" userId="ffbf198107bbd5ce" providerId="LiveId" clId="{167BE94B-8D3A-4531-9F68-529CDCD9B3C3}" dt="2025-04-15T06:33:08.354" v="3199" actId="14100"/>
          <ac:spMkLst>
            <pc:docMk/>
            <pc:sldMk cId="3092134645" sldId="434"/>
            <ac:spMk id="5" creationId="{B7D0B064-E5A2-2322-9B6F-991C6C2FC5E2}"/>
          </ac:spMkLst>
        </pc:spChg>
        <pc:graphicFrameChg chg="mod">
          <ac:chgData name="Dmitriy Shumekov" userId="ffbf198107bbd5ce" providerId="LiveId" clId="{167BE94B-8D3A-4531-9F68-529CDCD9B3C3}" dt="2025-04-15T06:50:56.255" v="3330"/>
          <ac:graphicFrameMkLst>
            <pc:docMk/>
            <pc:sldMk cId="3092134645" sldId="434"/>
            <ac:graphicFrameMk id="9" creationId="{E5312453-0530-D92F-72AE-E3D0856F6779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767550531" sldId="435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767550531" sldId="435"/>
            <ac:spMk id="3" creationId="{BA154E26-1C32-20D2-F693-9F591F3329DD}"/>
          </ac:spMkLst>
        </pc:spChg>
        <pc:spChg chg="mod">
          <ac:chgData name="Dmitriy Shumekov" userId="ffbf198107bbd5ce" providerId="LiveId" clId="{167BE94B-8D3A-4531-9F68-529CDCD9B3C3}" dt="2025-04-15T06:33:12.657" v="3201" actId="14100"/>
          <ac:spMkLst>
            <pc:docMk/>
            <pc:sldMk cId="1767550531" sldId="435"/>
            <ac:spMk id="5" creationId="{9EAF0EE0-3A8D-11CD-CA98-C26E0FED6B63}"/>
          </ac:spMkLst>
        </pc:spChg>
        <pc:graphicFrameChg chg="mod">
          <ac:chgData name="Dmitriy Shumekov" userId="ffbf198107bbd5ce" providerId="LiveId" clId="{167BE94B-8D3A-4531-9F68-529CDCD9B3C3}" dt="2025-04-15T06:52:30.045" v="3338"/>
          <ac:graphicFrameMkLst>
            <pc:docMk/>
            <pc:sldMk cId="1767550531" sldId="435"/>
            <ac:graphicFrameMk id="9" creationId="{A532C47A-7F2B-0658-3EE8-36AEF130BC96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573552716" sldId="436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573552716" sldId="436"/>
            <ac:spMk id="3" creationId="{686866DE-D8B3-D808-1BB6-28B5C8D8991D}"/>
          </ac:spMkLst>
        </pc:spChg>
        <pc:spChg chg="mod">
          <ac:chgData name="Dmitriy Shumekov" userId="ffbf198107bbd5ce" providerId="LiveId" clId="{167BE94B-8D3A-4531-9F68-529CDCD9B3C3}" dt="2025-04-15T06:33:16.994" v="3203" actId="14100"/>
          <ac:spMkLst>
            <pc:docMk/>
            <pc:sldMk cId="573552716" sldId="436"/>
            <ac:spMk id="5" creationId="{25037C9A-C149-B95F-DD65-62D30EC6CA41}"/>
          </ac:spMkLst>
        </pc:sp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679294696" sldId="43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679294696" sldId="437"/>
            <ac:spMk id="3" creationId="{E7CD1DE6-EB56-FDF3-C982-662FE0506710}"/>
          </ac:spMkLst>
        </pc:spChg>
        <pc:spChg chg="mod">
          <ac:chgData name="Dmitriy Shumekov" userId="ffbf198107bbd5ce" providerId="LiveId" clId="{167BE94B-8D3A-4531-9F68-529CDCD9B3C3}" dt="2025-04-15T07:15:23.284" v="3399" actId="20577"/>
          <ac:spMkLst>
            <pc:docMk/>
            <pc:sldMk cId="1679294696" sldId="437"/>
            <ac:spMk id="10" creationId="{F3DE75D6-31B6-34BB-4091-DB27B887D6E5}"/>
          </ac:spMkLst>
        </pc:spChg>
        <pc:spChg chg="mod">
          <ac:chgData name="Dmitriy Shumekov" userId="ffbf198107bbd5ce" providerId="LiveId" clId="{167BE94B-8D3A-4531-9F68-529CDCD9B3C3}" dt="2025-04-15T07:15:28.444" v="3403" actId="20577"/>
          <ac:spMkLst>
            <pc:docMk/>
            <pc:sldMk cId="1679294696" sldId="437"/>
            <ac:spMk id="11" creationId="{14F8307B-6FC3-BE19-1D69-1DA70E31DF55}"/>
          </ac:spMkLst>
        </pc:spChg>
        <pc:spChg chg="mod">
          <ac:chgData name="Dmitriy Shumekov" userId="ffbf198107bbd5ce" providerId="LiveId" clId="{167BE94B-8D3A-4531-9F68-529CDCD9B3C3}" dt="2025-04-15T07:15:16.373" v="3391" actId="20577"/>
          <ac:spMkLst>
            <pc:docMk/>
            <pc:sldMk cId="1679294696" sldId="437"/>
            <ac:spMk id="12" creationId="{4948DF49-42BA-B308-6E91-E60C3AD445A5}"/>
          </ac:spMkLst>
        </pc:spChg>
        <pc:spChg chg="mod">
          <ac:chgData name="Dmitriy Shumekov" userId="ffbf198107bbd5ce" providerId="LiveId" clId="{167BE94B-8D3A-4531-9F68-529CDCD9B3C3}" dt="2025-04-15T07:03:57.401" v="3365" actId="20577"/>
          <ac:spMkLst>
            <pc:docMk/>
            <pc:sldMk cId="1679294696" sldId="437"/>
            <ac:spMk id="37" creationId="{97F3800E-7B2D-6DF2-ACE2-5438A9FEDD0A}"/>
          </ac:spMkLst>
        </pc:spChg>
        <pc:graphicFrameChg chg="mod modGraphic">
          <ac:chgData name="Dmitriy Shumekov" userId="ffbf198107bbd5ce" providerId="LiveId" clId="{167BE94B-8D3A-4531-9F68-529CDCD9B3C3}" dt="2025-04-15T07:34:33.240" v="3462" actId="20577"/>
          <ac:graphicFrameMkLst>
            <pc:docMk/>
            <pc:sldMk cId="1679294696" sldId="437"/>
            <ac:graphicFrameMk id="4" creationId="{BF33ACC6-AA84-F0E9-2FA3-629F87F82C5F}"/>
          </ac:graphicFrameMkLst>
        </pc:graphicFrameChg>
        <pc:graphicFrameChg chg="mod modGraphic">
          <ac:chgData name="Dmitriy Shumekov" userId="ffbf198107bbd5ce" providerId="LiveId" clId="{167BE94B-8D3A-4531-9F68-529CDCD9B3C3}" dt="2025-04-15T07:34:36.046" v="3463" actId="20577"/>
          <ac:graphicFrameMkLst>
            <pc:docMk/>
            <pc:sldMk cId="1679294696" sldId="437"/>
            <ac:graphicFrameMk id="17" creationId="{593EE59C-8E9B-71C1-1D03-6DF524360A8C}"/>
          </ac:graphicFrameMkLst>
        </pc:graphicFrameChg>
        <pc:graphicFrameChg chg="mod modGraphic">
          <ac:chgData name="Dmitriy Shumekov" userId="ffbf198107bbd5ce" providerId="LiveId" clId="{167BE94B-8D3A-4531-9F68-529CDCD9B3C3}" dt="2025-04-15T07:34:40.184" v="3466" actId="20577"/>
          <ac:graphicFrameMkLst>
            <pc:docMk/>
            <pc:sldMk cId="1679294696" sldId="437"/>
            <ac:graphicFrameMk id="18" creationId="{2C6CB2AD-FA47-BC7A-9646-F9C1D02D0F33}"/>
          </ac:graphicFrameMkLst>
        </pc:graphicFrameChg>
        <pc:graphicFrameChg chg="mod modGraphic">
          <ac:chgData name="Dmitriy Shumekov" userId="ffbf198107bbd5ce" providerId="LiveId" clId="{167BE94B-8D3A-4531-9F68-529CDCD9B3C3}" dt="2025-04-15T07:35:51.178" v="3477" actId="3064"/>
          <ac:graphicFrameMkLst>
            <pc:docMk/>
            <pc:sldMk cId="1679294696" sldId="437"/>
            <ac:graphicFrameMk id="19" creationId="{A3CF925B-A535-84DF-3388-E26D7305D5CB}"/>
          </ac:graphicFrameMkLst>
        </pc:graphicFrameChg>
        <pc:graphicFrameChg chg="mod modGraphic">
          <ac:chgData name="Dmitriy Shumekov" userId="ffbf198107bbd5ce" providerId="LiveId" clId="{167BE94B-8D3A-4531-9F68-529CDCD9B3C3}" dt="2025-04-15T07:36:00.036" v="3479" actId="3064"/>
          <ac:graphicFrameMkLst>
            <pc:docMk/>
            <pc:sldMk cId="1679294696" sldId="437"/>
            <ac:graphicFrameMk id="24" creationId="{C0ED85BB-8335-89BB-A55E-2B01622961D0}"/>
          </ac:graphicFrameMkLst>
        </pc:graphicFrameChg>
        <pc:graphicFrameChg chg="mod modGraphic">
          <ac:chgData name="Dmitriy Shumekov" userId="ffbf198107bbd5ce" providerId="LiveId" clId="{167BE94B-8D3A-4531-9F68-529CDCD9B3C3}" dt="2025-04-15T07:36:07.382" v="3481" actId="3064"/>
          <ac:graphicFrameMkLst>
            <pc:docMk/>
            <pc:sldMk cId="1679294696" sldId="437"/>
            <ac:graphicFrameMk id="25" creationId="{F21B705F-9D40-CE93-998E-DA0CE00230D9}"/>
          </ac:graphicFrameMkLst>
        </pc:graphicFrameChg>
        <pc:graphicFrameChg chg="mod modGraphic">
          <ac:chgData name="Dmitriy Shumekov" userId="ffbf198107bbd5ce" providerId="LiveId" clId="{167BE94B-8D3A-4531-9F68-529CDCD9B3C3}" dt="2025-04-15T07:37:41.085" v="3492" actId="3064"/>
          <ac:graphicFrameMkLst>
            <pc:docMk/>
            <pc:sldMk cId="1679294696" sldId="437"/>
            <ac:graphicFrameMk id="31" creationId="{69447A81-A2CA-23DE-2739-50E4D3807F07}"/>
          </ac:graphicFrameMkLst>
        </pc:graphicFrameChg>
        <pc:graphicFrameChg chg="mod modGraphic">
          <ac:chgData name="Dmitriy Shumekov" userId="ffbf198107bbd5ce" providerId="LiveId" clId="{167BE94B-8D3A-4531-9F68-529CDCD9B3C3}" dt="2025-04-15T07:37:46.944" v="3494" actId="3064"/>
          <ac:graphicFrameMkLst>
            <pc:docMk/>
            <pc:sldMk cId="1679294696" sldId="437"/>
            <ac:graphicFrameMk id="35" creationId="{CF5269FE-9394-2B35-50AF-C797B96659B5}"/>
          </ac:graphicFrameMkLst>
        </pc:graphicFrameChg>
        <pc:graphicFrameChg chg="mod modGraphic">
          <ac:chgData name="Dmitriy Shumekov" userId="ffbf198107bbd5ce" providerId="LiveId" clId="{167BE94B-8D3A-4531-9F68-529CDCD9B3C3}" dt="2025-04-15T07:37:52.004" v="3496" actId="3064"/>
          <ac:graphicFrameMkLst>
            <pc:docMk/>
            <pc:sldMk cId="1679294696" sldId="437"/>
            <ac:graphicFrameMk id="36" creationId="{A49E1D3B-5A39-353C-8911-9DE3D7235E6C}"/>
          </ac:graphicFrameMkLst>
        </pc:graphicFrameChg>
      </pc:sldChg>
      <pc:sldChg chg="modSp add del mod">
        <pc:chgData name="Dmitriy Shumekov" userId="ffbf198107bbd5ce" providerId="LiveId" clId="{167BE94B-8D3A-4531-9F68-529CDCD9B3C3}" dt="2025-04-15T06:52:37.461" v="3339" actId="47"/>
        <pc:sldMkLst>
          <pc:docMk/>
          <pc:sldMk cId="1822301502" sldId="437"/>
        </pc:sldMkLst>
        <pc:spChg chg="mod">
          <ac:chgData name="Dmitriy Shumekov" userId="ffbf198107bbd5ce" providerId="LiveId" clId="{167BE94B-8D3A-4531-9F68-529CDCD9B3C3}" dt="2025-04-15T06:33:23.398" v="3205" actId="14100"/>
          <ac:spMkLst>
            <pc:docMk/>
            <pc:sldMk cId="1822301502" sldId="437"/>
            <ac:spMk id="5" creationId="{44DA46C0-99C4-A53E-F43D-569992F85F41}"/>
          </ac:spMkLst>
        </pc:sp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979428280" sldId="438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979428280" sldId="438"/>
            <ac:spMk id="3" creationId="{9D5541B0-E8D7-405A-0744-F8253AD86ADB}"/>
          </ac:spMkLst>
        </pc:spChg>
        <pc:spChg chg="add mod">
          <ac:chgData name="Dmitriy Shumekov" userId="ffbf198107bbd5ce" providerId="LiveId" clId="{167BE94B-8D3A-4531-9F68-529CDCD9B3C3}" dt="2025-04-15T07:15:33.822" v="3405"/>
          <ac:spMkLst>
            <pc:docMk/>
            <pc:sldMk cId="979428280" sldId="438"/>
            <ac:spMk id="5" creationId="{820BEF98-9D11-AF7B-A5EE-35A9CE5D39C5}"/>
          </ac:spMkLst>
        </pc:spChg>
        <pc:spChg chg="add mod">
          <ac:chgData name="Dmitriy Shumekov" userId="ffbf198107bbd5ce" providerId="LiveId" clId="{167BE94B-8D3A-4531-9F68-529CDCD9B3C3}" dt="2025-04-15T07:15:33.822" v="3405"/>
          <ac:spMkLst>
            <pc:docMk/>
            <pc:sldMk cId="979428280" sldId="438"/>
            <ac:spMk id="9" creationId="{E361B561-E84B-FE92-B823-10DD3DD98686}"/>
          </ac:spMkLst>
        </pc:spChg>
        <pc:spChg chg="add mod">
          <ac:chgData name="Dmitriy Shumekov" userId="ffbf198107bbd5ce" providerId="LiveId" clId="{167BE94B-8D3A-4531-9F68-529CDCD9B3C3}" dt="2025-04-15T07:15:33.822" v="3405"/>
          <ac:spMkLst>
            <pc:docMk/>
            <pc:sldMk cId="979428280" sldId="438"/>
            <ac:spMk id="10" creationId="{C9C375E2-8472-5D74-DF81-0364B11821C2}"/>
          </ac:spMkLst>
        </pc:spChg>
        <pc:spChg chg="mod">
          <ac:chgData name="Dmitriy Shumekov" userId="ffbf198107bbd5ce" providerId="LiveId" clId="{167BE94B-8D3A-4531-9F68-529CDCD9B3C3}" dt="2025-04-15T07:04:02.234" v="3367" actId="20577"/>
          <ac:spMkLst>
            <pc:docMk/>
            <pc:sldMk cId="979428280" sldId="438"/>
            <ac:spMk id="12" creationId="{A02B2069-84DC-04C7-0F4B-A7DAFEB626BC}"/>
          </ac:spMkLst>
        </pc:spChg>
        <pc:spChg chg="del">
          <ac:chgData name="Dmitriy Shumekov" userId="ffbf198107bbd5ce" providerId="LiveId" clId="{167BE94B-8D3A-4531-9F68-529CDCD9B3C3}" dt="2025-04-15T07:15:33.562" v="3404" actId="478"/>
          <ac:spMkLst>
            <pc:docMk/>
            <pc:sldMk cId="979428280" sldId="438"/>
            <ac:spMk id="26" creationId="{BEA63F6E-ED9A-0036-20FD-D074E8AFD17B}"/>
          </ac:spMkLst>
        </pc:spChg>
        <pc:spChg chg="del">
          <ac:chgData name="Dmitriy Shumekov" userId="ffbf198107bbd5ce" providerId="LiveId" clId="{167BE94B-8D3A-4531-9F68-529CDCD9B3C3}" dt="2025-04-15T07:15:33.562" v="3404" actId="478"/>
          <ac:spMkLst>
            <pc:docMk/>
            <pc:sldMk cId="979428280" sldId="438"/>
            <ac:spMk id="27" creationId="{4501B188-DA58-44E5-3C5F-24AD13F2D4C8}"/>
          </ac:spMkLst>
        </pc:spChg>
        <pc:spChg chg="del">
          <ac:chgData name="Dmitriy Shumekov" userId="ffbf198107bbd5ce" providerId="LiveId" clId="{167BE94B-8D3A-4531-9F68-529CDCD9B3C3}" dt="2025-04-15T07:15:33.562" v="3404" actId="478"/>
          <ac:spMkLst>
            <pc:docMk/>
            <pc:sldMk cId="979428280" sldId="438"/>
            <ac:spMk id="28" creationId="{5796083B-C154-C711-AC88-8C2F98D19449}"/>
          </ac:spMkLst>
        </pc:spChg>
        <pc:graphicFrameChg chg="mod modGraphic">
          <ac:chgData name="Dmitriy Shumekov" userId="ffbf198107bbd5ce" providerId="LiveId" clId="{167BE94B-8D3A-4531-9F68-529CDCD9B3C3}" dt="2025-04-15T07:39:03.865" v="3507" actId="3064"/>
          <ac:graphicFrameMkLst>
            <pc:docMk/>
            <pc:sldMk cId="979428280" sldId="438"/>
            <ac:graphicFrameMk id="4" creationId="{44987B71-4D50-7D0C-3CD6-DAB27C356A48}"/>
          </ac:graphicFrameMkLst>
        </pc:graphicFrameChg>
        <pc:graphicFrameChg chg="mod modGraphic">
          <ac:chgData name="Dmitriy Shumekov" userId="ffbf198107bbd5ce" providerId="LiveId" clId="{167BE94B-8D3A-4531-9F68-529CDCD9B3C3}" dt="2025-04-15T07:39:10.103" v="3509" actId="3064"/>
          <ac:graphicFrameMkLst>
            <pc:docMk/>
            <pc:sldMk cId="979428280" sldId="438"/>
            <ac:graphicFrameMk id="17" creationId="{A56E48B1-CB62-36E0-F65E-7AF6AC5232EE}"/>
          </ac:graphicFrameMkLst>
        </pc:graphicFrameChg>
        <pc:graphicFrameChg chg="mod modGraphic">
          <ac:chgData name="Dmitriy Shumekov" userId="ffbf198107bbd5ce" providerId="LiveId" clId="{167BE94B-8D3A-4531-9F68-529CDCD9B3C3}" dt="2025-04-15T07:39:16.169" v="3511" actId="3064"/>
          <ac:graphicFrameMkLst>
            <pc:docMk/>
            <pc:sldMk cId="979428280" sldId="438"/>
            <ac:graphicFrameMk id="18" creationId="{6C958B84-A506-499A-6AEE-6E77366E592D}"/>
          </ac:graphicFrameMkLst>
        </pc:graphicFrameChg>
        <pc:graphicFrameChg chg="mod modGraphic">
          <ac:chgData name="Dmitriy Shumekov" userId="ffbf198107bbd5ce" providerId="LiveId" clId="{167BE94B-8D3A-4531-9F68-529CDCD9B3C3}" dt="2025-04-15T07:40:22.840" v="3522" actId="3064"/>
          <ac:graphicFrameMkLst>
            <pc:docMk/>
            <pc:sldMk cId="979428280" sldId="438"/>
            <ac:graphicFrameMk id="19" creationId="{1E841BBF-66A4-FCBB-40D4-AC16AD63CFE6}"/>
          </ac:graphicFrameMkLst>
        </pc:graphicFrameChg>
        <pc:graphicFrameChg chg="mod modGraphic">
          <ac:chgData name="Dmitriy Shumekov" userId="ffbf198107bbd5ce" providerId="LiveId" clId="{167BE94B-8D3A-4531-9F68-529CDCD9B3C3}" dt="2025-04-15T07:40:29.151" v="3525" actId="3064"/>
          <ac:graphicFrameMkLst>
            <pc:docMk/>
            <pc:sldMk cId="979428280" sldId="438"/>
            <ac:graphicFrameMk id="24" creationId="{8D39A59B-F6FB-B6C4-C660-B07A02821CA9}"/>
          </ac:graphicFrameMkLst>
        </pc:graphicFrameChg>
        <pc:graphicFrameChg chg="mod modGraphic">
          <ac:chgData name="Dmitriy Shumekov" userId="ffbf198107bbd5ce" providerId="LiveId" clId="{167BE94B-8D3A-4531-9F68-529CDCD9B3C3}" dt="2025-04-15T07:40:34.800" v="3527" actId="3064"/>
          <ac:graphicFrameMkLst>
            <pc:docMk/>
            <pc:sldMk cId="979428280" sldId="438"/>
            <ac:graphicFrameMk id="25" creationId="{40CFF87F-F7A7-408E-9522-AF6EC5DDCCBF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667929647" sldId="439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667929647" sldId="439"/>
            <ac:spMk id="3" creationId="{C98B9073-6CF5-0450-9C84-A917135D85C1}"/>
          </ac:spMkLst>
        </pc:spChg>
        <pc:spChg chg="mod">
          <ac:chgData name="Dmitriy Shumekov" userId="ffbf198107bbd5ce" providerId="LiveId" clId="{167BE94B-8D3A-4531-9F68-529CDCD9B3C3}" dt="2025-04-15T07:04:04.829" v="3369" actId="20577"/>
          <ac:spMkLst>
            <pc:docMk/>
            <pc:sldMk cId="667929647" sldId="439"/>
            <ac:spMk id="5" creationId="{8C9C29ED-8DAD-0566-6832-492DEDCF9ED4}"/>
          </ac:spMkLst>
        </pc:spChg>
        <pc:spChg chg="del">
          <ac:chgData name="Dmitriy Shumekov" userId="ffbf198107bbd5ce" providerId="LiveId" clId="{167BE94B-8D3A-4531-9F68-529CDCD9B3C3}" dt="2025-04-15T07:15:36.752" v="3406" actId="478"/>
          <ac:spMkLst>
            <pc:docMk/>
            <pc:sldMk cId="667929647" sldId="439"/>
            <ac:spMk id="9" creationId="{8A785136-694A-29CE-F42B-8B69E63D8457}"/>
          </ac:spMkLst>
        </pc:spChg>
        <pc:spChg chg="add mod">
          <ac:chgData name="Dmitriy Shumekov" userId="ffbf198107bbd5ce" providerId="LiveId" clId="{167BE94B-8D3A-4531-9F68-529CDCD9B3C3}" dt="2025-04-15T07:15:37.005" v="3407"/>
          <ac:spMkLst>
            <pc:docMk/>
            <pc:sldMk cId="667929647" sldId="439"/>
            <ac:spMk id="10" creationId="{2B9E4FA4-B955-46F3-01C8-C150C9F1D9EB}"/>
          </ac:spMkLst>
        </pc:spChg>
        <pc:spChg chg="add mod">
          <ac:chgData name="Dmitriy Shumekov" userId="ffbf198107bbd5ce" providerId="LiveId" clId="{167BE94B-8D3A-4531-9F68-529CDCD9B3C3}" dt="2025-04-15T07:15:37.005" v="3407"/>
          <ac:spMkLst>
            <pc:docMk/>
            <pc:sldMk cId="667929647" sldId="439"/>
            <ac:spMk id="11" creationId="{C246CFAB-9C55-B4D8-821F-CA157232C1F0}"/>
          </ac:spMkLst>
        </pc:spChg>
        <pc:spChg chg="add mod">
          <ac:chgData name="Dmitriy Shumekov" userId="ffbf198107bbd5ce" providerId="LiveId" clId="{167BE94B-8D3A-4531-9F68-529CDCD9B3C3}" dt="2025-04-15T07:15:37.005" v="3407"/>
          <ac:spMkLst>
            <pc:docMk/>
            <pc:sldMk cId="667929647" sldId="439"/>
            <ac:spMk id="12" creationId="{28C5C7A1-147A-819A-E42A-B4B5BAD35F79}"/>
          </ac:spMkLst>
        </pc:spChg>
        <pc:spChg chg="del">
          <ac:chgData name="Dmitriy Shumekov" userId="ffbf198107bbd5ce" providerId="LiveId" clId="{167BE94B-8D3A-4531-9F68-529CDCD9B3C3}" dt="2025-04-15T07:15:36.752" v="3406" actId="478"/>
          <ac:spMkLst>
            <pc:docMk/>
            <pc:sldMk cId="667929647" sldId="439"/>
            <ac:spMk id="16" creationId="{262DEFCC-17CF-384D-90F7-74A99CD9F899}"/>
          </ac:spMkLst>
        </pc:spChg>
        <pc:spChg chg="del">
          <ac:chgData name="Dmitriy Shumekov" userId="ffbf198107bbd5ce" providerId="LiveId" clId="{167BE94B-8D3A-4531-9F68-529CDCD9B3C3}" dt="2025-04-15T07:15:36.752" v="3406" actId="478"/>
          <ac:spMkLst>
            <pc:docMk/>
            <pc:sldMk cId="667929647" sldId="439"/>
            <ac:spMk id="17" creationId="{D7E1DB39-8C5D-982F-EBFF-42485A11A66B}"/>
          </ac:spMkLst>
        </pc:spChg>
      </pc:sldChg>
      <pc:sldChg chg="addSp modSp add mod">
        <pc:chgData name="Dmitriy Shumekov" userId="ffbf198107bbd5ce" providerId="LiveId" clId="{167BE94B-8D3A-4531-9F68-529CDCD9B3C3}" dt="2025-04-16T11:10:05.877" v="5298"/>
        <pc:sldMkLst>
          <pc:docMk/>
          <pc:sldMk cId="882449730" sldId="440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882449730" sldId="440"/>
            <ac:spMk id="3" creationId="{8C092AC2-5883-4026-BDE2-38E1746099FA}"/>
          </ac:spMkLst>
        </pc:spChg>
        <pc:spChg chg="mod">
          <ac:chgData name="Dmitriy Shumekov" userId="ffbf198107bbd5ce" providerId="LiveId" clId="{167BE94B-8D3A-4531-9F68-529CDCD9B3C3}" dt="2025-04-15T07:04:09.025" v="3371" actId="20577"/>
          <ac:spMkLst>
            <pc:docMk/>
            <pc:sldMk cId="882449730" sldId="440"/>
            <ac:spMk id="5" creationId="{0632048C-EFD6-AD76-3B2F-15952F97E0BE}"/>
          </ac:spMkLst>
        </pc:spChg>
        <pc:graphicFrameChg chg="add mod">
          <ac:chgData name="Dmitriy Shumekov" userId="ffbf198107bbd5ce" providerId="LiveId" clId="{167BE94B-8D3A-4531-9F68-529CDCD9B3C3}" dt="2025-04-15T10:21:31.677" v="3539"/>
          <ac:graphicFrameMkLst>
            <pc:docMk/>
            <pc:sldMk cId="882449730" sldId="440"/>
            <ac:graphicFrameMk id="4" creationId="{5173A298-E478-EEC9-C0DD-D9EEF43A0567}"/>
          </ac:graphicFrameMkLst>
        </pc:graphicFrameChg>
        <pc:graphicFrameChg chg="mod modGraphic">
          <ac:chgData name="Dmitriy Shumekov" userId="ffbf198107bbd5ce" providerId="LiveId" clId="{167BE94B-8D3A-4531-9F68-529CDCD9B3C3}" dt="2025-04-15T10:21:36.826" v="3541" actId="3064"/>
          <ac:graphicFrameMkLst>
            <pc:docMk/>
            <pc:sldMk cId="882449730" sldId="440"/>
            <ac:graphicFrameMk id="9" creationId="{72AE0DBD-FCD3-C9A0-CBEA-0C7B89C9D379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122215364" sldId="441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122215364" sldId="441"/>
            <ac:spMk id="3" creationId="{53632700-7D80-2B51-26FB-09457D35D853}"/>
          </ac:spMkLst>
        </pc:spChg>
        <pc:spChg chg="mod">
          <ac:chgData name="Dmitriy Shumekov" userId="ffbf198107bbd5ce" providerId="LiveId" clId="{167BE94B-8D3A-4531-9F68-529CDCD9B3C3}" dt="2025-04-15T07:04:12.547" v="3373" actId="20577"/>
          <ac:spMkLst>
            <pc:docMk/>
            <pc:sldMk cId="2122215364" sldId="441"/>
            <ac:spMk id="5" creationId="{C128FD57-4047-ACC5-C8D2-5DE5C4194774}"/>
          </ac:spMkLst>
        </pc:spChg>
        <pc:graphicFrameChg chg="mod modGraphic">
          <ac:chgData name="Dmitriy Shumekov" userId="ffbf198107bbd5ce" providerId="LiveId" clId="{167BE94B-8D3A-4531-9F68-529CDCD9B3C3}" dt="2025-04-15T10:23:00.362" v="3547" actId="3064"/>
          <ac:graphicFrameMkLst>
            <pc:docMk/>
            <pc:sldMk cId="2122215364" sldId="441"/>
            <ac:graphicFrameMk id="9" creationId="{9917F7C3-7E6A-49D7-37C2-6C06014CA398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93013501" sldId="44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93013501" sldId="442"/>
            <ac:spMk id="3" creationId="{940B780E-6FB6-AA4D-809B-73D4E3CBC574}"/>
          </ac:spMkLst>
        </pc:spChg>
        <pc:spChg chg="mod">
          <ac:chgData name="Dmitriy Shumekov" userId="ffbf198107bbd5ce" providerId="LiveId" clId="{167BE94B-8D3A-4531-9F68-529CDCD9B3C3}" dt="2025-04-15T07:04:16.657" v="3375" actId="20577"/>
          <ac:spMkLst>
            <pc:docMk/>
            <pc:sldMk cId="293013501" sldId="442"/>
            <ac:spMk id="5" creationId="{021FC45E-7AF8-6148-7AD2-D4EFCE0E3237}"/>
          </ac:spMkLst>
        </pc:spChg>
        <pc:graphicFrameChg chg="mod modGraphic">
          <ac:chgData name="Dmitriy Shumekov" userId="ffbf198107bbd5ce" providerId="LiveId" clId="{167BE94B-8D3A-4531-9F68-529CDCD9B3C3}" dt="2025-04-15T10:24:22.921" v="3554" actId="3064"/>
          <ac:graphicFrameMkLst>
            <pc:docMk/>
            <pc:sldMk cId="293013501" sldId="442"/>
            <ac:graphicFrameMk id="9" creationId="{F6258EAF-D509-EC94-EE99-C7B4DCC4AB52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914154662" sldId="443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914154662" sldId="443"/>
            <ac:spMk id="3" creationId="{7FE42D01-2B6E-6212-C993-AD4929F410B2}"/>
          </ac:spMkLst>
        </pc:spChg>
        <pc:spChg chg="mod">
          <ac:chgData name="Dmitriy Shumekov" userId="ffbf198107bbd5ce" providerId="LiveId" clId="{167BE94B-8D3A-4531-9F68-529CDCD9B3C3}" dt="2025-04-15T07:04:20.659" v="3377" actId="20577"/>
          <ac:spMkLst>
            <pc:docMk/>
            <pc:sldMk cId="2914154662" sldId="443"/>
            <ac:spMk id="5" creationId="{870E1B14-2723-9F90-036E-0E3747711512}"/>
          </ac:spMkLst>
        </pc:spChg>
        <pc:graphicFrameChg chg="mod modGraphic">
          <ac:chgData name="Dmitriy Shumekov" userId="ffbf198107bbd5ce" providerId="LiveId" clId="{167BE94B-8D3A-4531-9F68-529CDCD9B3C3}" dt="2025-04-15T10:21:57.538" v="3543" actId="3064"/>
          <ac:graphicFrameMkLst>
            <pc:docMk/>
            <pc:sldMk cId="2914154662" sldId="443"/>
            <ac:graphicFrameMk id="9" creationId="{79B98A95-07F7-E4CC-4402-A8C1A656F5B8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190155588" sldId="444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190155588" sldId="444"/>
            <ac:spMk id="3" creationId="{C5518D21-8CF1-D40B-E5C2-B73DC5EC1F40}"/>
          </ac:spMkLst>
        </pc:spChg>
        <pc:spChg chg="mod">
          <ac:chgData name="Dmitriy Shumekov" userId="ffbf198107bbd5ce" providerId="LiveId" clId="{167BE94B-8D3A-4531-9F68-529CDCD9B3C3}" dt="2025-04-15T07:04:24.747" v="3379" actId="20577"/>
          <ac:spMkLst>
            <pc:docMk/>
            <pc:sldMk cId="3190155588" sldId="444"/>
            <ac:spMk id="4" creationId="{EB812F7E-3B8E-0473-1BEB-6C4101A2888E}"/>
          </ac:spMkLst>
        </pc:spChg>
        <pc:graphicFrameChg chg="mod modGraphic">
          <ac:chgData name="Dmitriy Shumekov" userId="ffbf198107bbd5ce" providerId="LiveId" clId="{167BE94B-8D3A-4531-9F68-529CDCD9B3C3}" dt="2025-04-15T10:23:20.799" v="3549" actId="3064"/>
          <ac:graphicFrameMkLst>
            <pc:docMk/>
            <pc:sldMk cId="3190155588" sldId="444"/>
            <ac:graphicFrameMk id="9" creationId="{E074E840-33EB-9C03-175F-7AAF77A68EB1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56131458" sldId="445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56131458" sldId="445"/>
            <ac:spMk id="3" creationId="{0C1C47CC-ECE3-6669-BD91-B5625C0C7874}"/>
          </ac:spMkLst>
        </pc:spChg>
        <pc:spChg chg="mod">
          <ac:chgData name="Dmitriy Shumekov" userId="ffbf198107bbd5ce" providerId="LiveId" clId="{167BE94B-8D3A-4531-9F68-529CDCD9B3C3}" dt="2025-04-15T07:04:28.181" v="3381" actId="20577"/>
          <ac:spMkLst>
            <pc:docMk/>
            <pc:sldMk cId="56131458" sldId="445"/>
            <ac:spMk id="4" creationId="{BBA54E2E-E7B1-00F6-D889-E7A874EA235B}"/>
          </ac:spMkLst>
        </pc:spChg>
        <pc:graphicFrameChg chg="mod modGraphic">
          <ac:chgData name="Dmitriy Shumekov" userId="ffbf198107bbd5ce" providerId="LiveId" clId="{167BE94B-8D3A-4531-9F68-529CDCD9B3C3}" dt="2025-04-15T10:24:40.756" v="3556" actId="3064"/>
          <ac:graphicFrameMkLst>
            <pc:docMk/>
            <pc:sldMk cId="56131458" sldId="445"/>
            <ac:graphicFrameMk id="9" creationId="{77C02D9F-B8DC-A7F2-7A57-ABB2EE5C07E9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791106771" sldId="446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791106771" sldId="446"/>
            <ac:spMk id="3" creationId="{CCF06CF4-8A13-B3B4-5095-DB6A0111BCEB}"/>
          </ac:spMkLst>
        </pc:spChg>
        <pc:spChg chg="mod">
          <ac:chgData name="Dmitriy Shumekov" userId="ffbf198107bbd5ce" providerId="LiveId" clId="{167BE94B-8D3A-4531-9F68-529CDCD9B3C3}" dt="2025-04-15T07:04:31.915" v="3383" actId="20577"/>
          <ac:spMkLst>
            <pc:docMk/>
            <pc:sldMk cId="3791106771" sldId="446"/>
            <ac:spMk id="5" creationId="{DC10F182-AC65-F121-350D-91C90E251990}"/>
          </ac:spMkLst>
        </pc:spChg>
        <pc:graphicFrameChg chg="mod modGraphic">
          <ac:chgData name="Dmitriy Shumekov" userId="ffbf198107bbd5ce" providerId="LiveId" clId="{167BE94B-8D3A-4531-9F68-529CDCD9B3C3}" dt="2025-04-15T10:22:17.630" v="3545" actId="3064"/>
          <ac:graphicFrameMkLst>
            <pc:docMk/>
            <pc:sldMk cId="3791106771" sldId="446"/>
            <ac:graphicFrameMk id="9" creationId="{5347CE3A-1D5E-3EE3-A759-3FFF948C569A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051460242" sldId="44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051460242" sldId="447"/>
            <ac:spMk id="3" creationId="{5767E767-EDFA-D7E3-1995-8BC9B72EFF7E}"/>
          </ac:spMkLst>
        </pc:spChg>
        <pc:spChg chg="mod">
          <ac:chgData name="Dmitriy Shumekov" userId="ffbf198107bbd5ce" providerId="LiveId" clId="{167BE94B-8D3A-4531-9F68-529CDCD9B3C3}" dt="2025-04-15T07:04:35.099" v="3385" actId="20577"/>
          <ac:spMkLst>
            <pc:docMk/>
            <pc:sldMk cId="2051460242" sldId="447"/>
            <ac:spMk id="5" creationId="{3146318F-BAAB-89E9-0B4F-050D8FD8D13A}"/>
          </ac:spMkLst>
        </pc:spChg>
        <pc:graphicFrameChg chg="mod modGraphic">
          <ac:chgData name="Dmitriy Shumekov" userId="ffbf198107bbd5ce" providerId="LiveId" clId="{167BE94B-8D3A-4531-9F68-529CDCD9B3C3}" dt="2025-04-15T10:23:40.835" v="3551" actId="3064"/>
          <ac:graphicFrameMkLst>
            <pc:docMk/>
            <pc:sldMk cId="2051460242" sldId="447"/>
            <ac:graphicFrameMk id="9" creationId="{E9689777-DED7-23A8-1C1A-2561C6F2612E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389227528" sldId="448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389227528" sldId="448"/>
            <ac:spMk id="3" creationId="{9B3785CF-5EE8-5525-EEA1-9578132BFECB}"/>
          </ac:spMkLst>
        </pc:spChg>
        <pc:spChg chg="mod">
          <ac:chgData name="Dmitriy Shumekov" userId="ffbf198107bbd5ce" providerId="LiveId" clId="{167BE94B-8D3A-4531-9F68-529CDCD9B3C3}" dt="2025-04-15T07:04:38.243" v="3387" actId="20577"/>
          <ac:spMkLst>
            <pc:docMk/>
            <pc:sldMk cId="2389227528" sldId="448"/>
            <ac:spMk id="5" creationId="{E28B3428-69BA-BCF1-EB73-A7F69854708C}"/>
          </ac:spMkLst>
        </pc:spChg>
        <pc:graphicFrameChg chg="mod modGraphic">
          <ac:chgData name="Dmitriy Shumekov" userId="ffbf198107bbd5ce" providerId="LiveId" clId="{167BE94B-8D3A-4531-9F68-529CDCD9B3C3}" dt="2025-04-15T10:24:57.914" v="3558" actId="3064"/>
          <ac:graphicFrameMkLst>
            <pc:docMk/>
            <pc:sldMk cId="2389227528" sldId="448"/>
            <ac:graphicFrameMk id="9" creationId="{CFD428C9-A56C-2E8E-C960-306BF2ECC470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362277601" sldId="449"/>
        </pc:sldMkLst>
        <pc:spChg chg="mod">
          <ac:chgData name="Dmitriy Shumekov" userId="ffbf198107bbd5ce" providerId="LiveId" clId="{167BE94B-8D3A-4531-9F68-529CDCD9B3C3}" dt="2025-04-15T10:37:38.897" v="3630" actId="6549"/>
          <ac:spMkLst>
            <pc:docMk/>
            <pc:sldMk cId="3362277601" sldId="449"/>
            <ac:spMk id="2" creationId="{67943138-D0A8-240E-69B7-E36CFE554DFB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362277601" sldId="449"/>
            <ac:spMk id="3" creationId="{C18DE56D-0ECB-189E-12ED-59D76077FF97}"/>
          </ac:spMkLst>
        </pc:spChg>
        <pc:spChg chg="add del mod">
          <ac:chgData name="Dmitriy Shumekov" userId="ffbf198107bbd5ce" providerId="LiveId" clId="{167BE94B-8D3A-4531-9F68-529CDCD9B3C3}" dt="2025-04-15T10:58:17.546" v="3889" actId="478"/>
          <ac:spMkLst>
            <pc:docMk/>
            <pc:sldMk cId="3362277601" sldId="449"/>
            <ac:spMk id="5" creationId="{AD869506-56E4-8CDE-09CC-112C0E0735F1}"/>
          </ac:spMkLst>
        </pc:spChg>
        <pc:spChg chg="del">
          <ac:chgData name="Dmitriy Shumekov" userId="ffbf198107bbd5ce" providerId="LiveId" clId="{167BE94B-8D3A-4531-9F68-529CDCD9B3C3}" dt="2025-04-15T10:38:16.641" v="3634" actId="478"/>
          <ac:spMkLst>
            <pc:docMk/>
            <pc:sldMk cId="3362277601" sldId="449"/>
            <ac:spMk id="6" creationId="{6019AC76-E172-96C5-6F7F-BA3A21AA84F8}"/>
          </ac:spMkLst>
        </pc:spChg>
        <pc:spChg chg="del">
          <ac:chgData name="Dmitriy Shumekov" userId="ffbf198107bbd5ce" providerId="LiveId" clId="{167BE94B-8D3A-4531-9F68-529CDCD9B3C3}" dt="2025-04-15T10:38:06.246" v="3633" actId="478"/>
          <ac:spMkLst>
            <pc:docMk/>
            <pc:sldMk cId="3362277601" sldId="449"/>
            <ac:spMk id="7" creationId="{322E2E46-B7C0-0008-30E0-6002180A862E}"/>
          </ac:spMkLst>
        </pc:spChg>
        <pc:spChg chg="del">
          <ac:chgData name="Dmitriy Shumekov" userId="ffbf198107bbd5ce" providerId="LiveId" clId="{167BE94B-8D3A-4531-9F68-529CDCD9B3C3}" dt="2025-04-15T10:38:06.246" v="3633" actId="478"/>
          <ac:spMkLst>
            <pc:docMk/>
            <pc:sldMk cId="3362277601" sldId="449"/>
            <ac:spMk id="8" creationId="{EF07AE06-B0E3-EF5A-F471-9EE72741D90A}"/>
          </ac:spMkLst>
        </pc:spChg>
        <pc:spChg chg="del">
          <ac:chgData name="Dmitriy Shumekov" userId="ffbf198107bbd5ce" providerId="LiveId" clId="{167BE94B-8D3A-4531-9F68-529CDCD9B3C3}" dt="2025-04-15T10:38:06.246" v="3633" actId="478"/>
          <ac:spMkLst>
            <pc:docMk/>
            <pc:sldMk cId="3362277601" sldId="449"/>
            <ac:spMk id="10" creationId="{68FB90CC-0B47-39A5-5D4B-1CE2803D0912}"/>
          </ac:spMkLst>
        </pc:spChg>
        <pc:spChg chg="del">
          <ac:chgData name="Dmitriy Shumekov" userId="ffbf198107bbd5ce" providerId="LiveId" clId="{167BE94B-8D3A-4531-9F68-529CDCD9B3C3}" dt="2025-04-15T10:38:06.246" v="3633" actId="478"/>
          <ac:spMkLst>
            <pc:docMk/>
            <pc:sldMk cId="3362277601" sldId="449"/>
            <ac:spMk id="11" creationId="{C50CF8A2-9573-CE2A-6627-D01D9E786FCB}"/>
          </ac:spMkLst>
        </pc:spChg>
        <pc:spChg chg="mod">
          <ac:chgData name="Dmitriy Shumekov" userId="ffbf198107bbd5ce" providerId="LiveId" clId="{167BE94B-8D3A-4531-9F68-529CDCD9B3C3}" dt="2025-04-15T10:58:33.547" v="3892" actId="14100"/>
          <ac:spMkLst>
            <pc:docMk/>
            <pc:sldMk cId="3362277601" sldId="449"/>
            <ac:spMk id="12" creationId="{880990D9-FBA2-A4C1-8C91-3FAD74ECBCDC}"/>
          </ac:spMkLst>
        </pc:spChg>
        <pc:spChg chg="add mod">
          <ac:chgData name="Dmitriy Shumekov" userId="ffbf198107bbd5ce" providerId="LiveId" clId="{167BE94B-8D3A-4531-9F68-529CDCD9B3C3}" dt="2025-04-15T10:58:25.884" v="3891" actId="1076"/>
          <ac:spMkLst>
            <pc:docMk/>
            <pc:sldMk cId="3362277601" sldId="449"/>
            <ac:spMk id="17" creationId="{A6C568D3-085D-BAC3-B50A-ED699B781823}"/>
          </ac:spMkLst>
        </pc:spChg>
        <pc:spChg chg="add mod">
          <ac:chgData name="Dmitriy Shumekov" userId="ffbf198107bbd5ce" providerId="LiveId" clId="{167BE94B-8D3A-4531-9F68-529CDCD9B3C3}" dt="2025-04-15T10:58:25.884" v="3891" actId="1076"/>
          <ac:spMkLst>
            <pc:docMk/>
            <pc:sldMk cId="3362277601" sldId="449"/>
            <ac:spMk id="18" creationId="{5EF008E5-DAE0-ED47-604A-3140A26D1984}"/>
          </ac:spMkLst>
        </pc:spChg>
        <pc:spChg chg="add del mod">
          <ac:chgData name="Dmitriy Shumekov" userId="ffbf198107bbd5ce" providerId="LiveId" clId="{167BE94B-8D3A-4531-9F68-529CDCD9B3C3}" dt="2025-04-15T10:45:29.938" v="3731" actId="478"/>
          <ac:spMkLst>
            <pc:docMk/>
            <pc:sldMk cId="3362277601" sldId="449"/>
            <ac:spMk id="19" creationId="{7279604C-3A3D-3F57-2D20-58FA54D309FE}"/>
          </ac:spMkLst>
        </pc:spChg>
        <pc:spChg chg="add del mod">
          <ac:chgData name="Dmitriy Shumekov" userId="ffbf198107bbd5ce" providerId="LiveId" clId="{167BE94B-8D3A-4531-9F68-529CDCD9B3C3}" dt="2025-04-15T10:45:29.938" v="3731" actId="478"/>
          <ac:spMkLst>
            <pc:docMk/>
            <pc:sldMk cId="3362277601" sldId="449"/>
            <ac:spMk id="20" creationId="{E05C94F0-F44C-4D66-11D4-688957B0BC71}"/>
          </ac:spMkLst>
        </pc:spChg>
        <pc:spChg chg="add mod">
          <ac:chgData name="Dmitriy Shumekov" userId="ffbf198107bbd5ce" providerId="LiveId" clId="{167BE94B-8D3A-4531-9F68-529CDCD9B3C3}" dt="2025-04-15T11:04:12.729" v="4026" actId="404"/>
          <ac:spMkLst>
            <pc:docMk/>
            <pc:sldMk cId="3362277601" sldId="449"/>
            <ac:spMk id="36" creationId="{142970D3-C38F-B804-C73F-E0855586001B}"/>
          </ac:spMkLst>
        </pc:spChg>
        <pc:spChg chg="add mod">
          <ac:chgData name="Dmitriy Shumekov" userId="ffbf198107bbd5ce" providerId="LiveId" clId="{167BE94B-8D3A-4531-9F68-529CDCD9B3C3}" dt="2025-04-15T11:04:12.729" v="4026" actId="404"/>
          <ac:spMkLst>
            <pc:docMk/>
            <pc:sldMk cId="3362277601" sldId="449"/>
            <ac:spMk id="38" creationId="{A711FA29-F1B9-9FAC-DDF6-7405A8150D05}"/>
          </ac:spMkLst>
        </pc:spChg>
        <pc:spChg chg="add mod">
          <ac:chgData name="Dmitriy Shumekov" userId="ffbf198107bbd5ce" providerId="LiveId" clId="{167BE94B-8D3A-4531-9F68-529CDCD9B3C3}" dt="2025-04-15T11:04:55.576" v="4037" actId="20577"/>
          <ac:spMkLst>
            <pc:docMk/>
            <pc:sldMk cId="3362277601" sldId="449"/>
            <ac:spMk id="43" creationId="{26889344-0269-8446-8914-BEB0B8225F5E}"/>
          </ac:spMkLst>
        </pc:spChg>
        <pc:graphicFrameChg chg="del">
          <ac:chgData name="Dmitriy Shumekov" userId="ffbf198107bbd5ce" providerId="LiveId" clId="{167BE94B-8D3A-4531-9F68-529CDCD9B3C3}" dt="2025-04-15T10:38:01.889" v="3631" actId="478"/>
          <ac:graphicFrameMkLst>
            <pc:docMk/>
            <pc:sldMk cId="3362277601" sldId="449"/>
            <ac:graphicFrameMk id="4" creationId="{E2AA9390-829C-3FAD-A756-2609A35BED0D}"/>
          </ac:graphicFrameMkLst>
        </pc:graphicFrameChg>
        <pc:graphicFrameChg chg="del">
          <ac:chgData name="Dmitriy Shumekov" userId="ffbf198107bbd5ce" providerId="LiveId" clId="{167BE94B-8D3A-4531-9F68-529CDCD9B3C3}" dt="2025-04-15T10:38:01.889" v="3631" actId="478"/>
          <ac:graphicFrameMkLst>
            <pc:docMk/>
            <pc:sldMk cId="3362277601" sldId="449"/>
            <ac:graphicFrameMk id="9" creationId="{C6199A8F-4564-B538-717D-18226D24D4D6}"/>
          </ac:graphicFrameMkLst>
        </pc:graphicFrameChg>
        <pc:graphicFrameChg chg="del">
          <ac:chgData name="Dmitriy Shumekov" userId="ffbf198107bbd5ce" providerId="LiveId" clId="{167BE94B-8D3A-4531-9F68-529CDCD9B3C3}" dt="2025-04-15T10:38:01.889" v="3631" actId="478"/>
          <ac:graphicFrameMkLst>
            <pc:docMk/>
            <pc:sldMk cId="3362277601" sldId="449"/>
            <ac:graphicFrameMk id="13" creationId="{23246FA8-5088-0A6E-448C-56AEC01075EC}"/>
          </ac:graphicFrameMkLst>
        </pc:graphicFrameChg>
        <pc:graphicFrameChg chg="del">
          <ac:chgData name="Dmitriy Shumekov" userId="ffbf198107bbd5ce" providerId="LiveId" clId="{167BE94B-8D3A-4531-9F68-529CDCD9B3C3}" dt="2025-04-15T10:38:01.889" v="3631" actId="478"/>
          <ac:graphicFrameMkLst>
            <pc:docMk/>
            <pc:sldMk cId="3362277601" sldId="449"/>
            <ac:graphicFrameMk id="14" creationId="{DC4E9969-342A-4A07-502B-10197CCDE6C7}"/>
          </ac:graphicFrameMkLst>
        </pc:graphicFrameChg>
        <pc:graphicFrameChg chg="del">
          <ac:chgData name="Dmitriy Shumekov" userId="ffbf198107bbd5ce" providerId="LiveId" clId="{167BE94B-8D3A-4531-9F68-529CDCD9B3C3}" dt="2025-04-15T10:38:03.932" v="3632" actId="478"/>
          <ac:graphicFrameMkLst>
            <pc:docMk/>
            <pc:sldMk cId="3362277601" sldId="449"/>
            <ac:graphicFrameMk id="15" creationId="{37404BDD-7682-1C8F-6F27-DEDE27CCB4D7}"/>
          </ac:graphicFrameMkLst>
        </pc:graphicFrameChg>
        <pc:graphicFrameChg chg="del">
          <ac:chgData name="Dmitriy Shumekov" userId="ffbf198107bbd5ce" providerId="LiveId" clId="{167BE94B-8D3A-4531-9F68-529CDCD9B3C3}" dt="2025-04-15T10:38:01.889" v="3631" actId="478"/>
          <ac:graphicFrameMkLst>
            <pc:docMk/>
            <pc:sldMk cId="3362277601" sldId="449"/>
            <ac:graphicFrameMk id="16" creationId="{222D24A7-BE52-7F37-7008-1DDA359F1F61}"/>
          </ac:graphicFrameMkLst>
        </pc:graphicFrameChg>
        <pc:graphicFrameChg chg="add del mod">
          <ac:chgData name="Dmitriy Shumekov" userId="ffbf198107bbd5ce" providerId="LiveId" clId="{167BE94B-8D3A-4531-9F68-529CDCD9B3C3}" dt="2025-04-15T10:56:02.771" v="3865" actId="478"/>
          <ac:graphicFrameMkLst>
            <pc:docMk/>
            <pc:sldMk cId="3362277601" sldId="449"/>
            <ac:graphicFrameMk id="21" creationId="{6922148B-919C-F122-E200-8EEC6C312BFC}"/>
          </ac:graphicFrameMkLst>
        </pc:graphicFrameChg>
        <pc:graphicFrameChg chg="add mod">
          <ac:chgData name="Dmitriy Shumekov" userId="ffbf198107bbd5ce" providerId="LiveId" clId="{167BE94B-8D3A-4531-9F68-529CDCD9B3C3}" dt="2025-04-15T11:05:11.726" v="4045"/>
          <ac:graphicFrameMkLst>
            <pc:docMk/>
            <pc:sldMk cId="3362277601" sldId="449"/>
            <ac:graphicFrameMk id="22" creationId="{94273871-FD86-EC73-2C1B-8CBE7D4E8E54}"/>
          </ac:graphicFrameMkLst>
        </pc:graphicFrameChg>
        <pc:graphicFrameChg chg="add mod">
          <ac:chgData name="Dmitriy Shumekov" userId="ffbf198107bbd5ce" providerId="LiveId" clId="{167BE94B-8D3A-4531-9F68-529CDCD9B3C3}" dt="2025-04-15T10:58:25.884" v="3891" actId="1076"/>
          <ac:graphicFrameMkLst>
            <pc:docMk/>
            <pc:sldMk cId="3362277601" sldId="449"/>
            <ac:graphicFrameMk id="25" creationId="{3963C629-C513-BA54-2147-C6DE8A4C06A1}"/>
          </ac:graphicFrameMkLst>
        </pc:graphicFrameChg>
        <pc:graphicFrameChg chg="add mod modGraphic">
          <ac:chgData name="Dmitriy Shumekov" userId="ffbf198107bbd5ce" providerId="LiveId" clId="{167BE94B-8D3A-4531-9F68-529CDCD9B3C3}" dt="2025-04-15T11:05:48.263" v="4054" actId="14100"/>
          <ac:graphicFrameMkLst>
            <pc:docMk/>
            <pc:sldMk cId="3362277601" sldId="449"/>
            <ac:graphicFrameMk id="26" creationId="{DBE3AA1A-BCD7-0F76-B558-2988ECF0122D}"/>
          </ac:graphicFrameMkLst>
        </pc:graphicFrameChg>
        <pc:graphicFrameChg chg="add mod">
          <ac:chgData name="Dmitriy Shumekov" userId="ffbf198107bbd5ce" providerId="LiveId" clId="{167BE94B-8D3A-4531-9F68-529CDCD9B3C3}" dt="2025-04-15T11:12:53.762" v="4106" actId="14100"/>
          <ac:graphicFrameMkLst>
            <pc:docMk/>
            <pc:sldMk cId="3362277601" sldId="449"/>
            <ac:graphicFrameMk id="27" creationId="{DFCB12D5-5BC3-B2B5-53BA-540E603D659B}"/>
          </ac:graphicFrameMkLst>
        </pc:graphicFrameChg>
        <pc:graphicFrameChg chg="add mod modGraphic">
          <ac:chgData name="Dmitriy Shumekov" userId="ffbf198107bbd5ce" providerId="LiveId" clId="{167BE94B-8D3A-4531-9F68-529CDCD9B3C3}" dt="2025-04-15T11:05:29.057" v="4050" actId="14100"/>
          <ac:graphicFrameMkLst>
            <pc:docMk/>
            <pc:sldMk cId="3362277601" sldId="449"/>
            <ac:graphicFrameMk id="28" creationId="{7FAF3E52-A831-7DF3-2008-3A9104765853}"/>
          </ac:graphicFrameMkLst>
        </pc:graphicFrameChg>
        <pc:graphicFrameChg chg="add mod">
          <ac:chgData name="Dmitriy Shumekov" userId="ffbf198107bbd5ce" providerId="LiveId" clId="{167BE94B-8D3A-4531-9F68-529CDCD9B3C3}" dt="2025-04-15T11:12:51.730" v="4105" actId="14100"/>
          <ac:graphicFrameMkLst>
            <pc:docMk/>
            <pc:sldMk cId="3362277601" sldId="449"/>
            <ac:graphicFrameMk id="29" creationId="{646F429C-A077-9EE6-CF00-4BA899840E71}"/>
          </ac:graphicFrameMkLst>
        </pc:graphicFrameChg>
        <pc:graphicFrameChg chg="add mod modGraphic">
          <ac:chgData name="Dmitriy Shumekov" userId="ffbf198107bbd5ce" providerId="LiveId" clId="{167BE94B-8D3A-4531-9F68-529CDCD9B3C3}" dt="2025-04-15T11:06:23.579" v="4064" actId="14100"/>
          <ac:graphicFrameMkLst>
            <pc:docMk/>
            <pc:sldMk cId="3362277601" sldId="449"/>
            <ac:graphicFrameMk id="30" creationId="{47965C97-BAA6-E571-0B2D-B0624BCEEBF7}"/>
          </ac:graphicFrameMkLst>
        </pc:graphicFrameChg>
        <pc:graphicFrameChg chg="add mod">
          <ac:chgData name="Dmitriy Shumekov" userId="ffbf198107bbd5ce" providerId="LiveId" clId="{167BE94B-8D3A-4531-9F68-529CDCD9B3C3}" dt="2025-04-15T11:12:49.230" v="4104" actId="14100"/>
          <ac:graphicFrameMkLst>
            <pc:docMk/>
            <pc:sldMk cId="3362277601" sldId="449"/>
            <ac:graphicFrameMk id="31" creationId="{2E8D6254-B60B-E2A0-A123-52671485D143}"/>
          </ac:graphicFrameMkLst>
        </pc:graphicFrameChg>
        <pc:graphicFrameChg chg="add mod modGraphic">
          <ac:chgData name="Dmitriy Shumekov" userId="ffbf198107bbd5ce" providerId="LiveId" clId="{167BE94B-8D3A-4531-9F68-529CDCD9B3C3}" dt="2025-04-15T11:11:50.318" v="4087" actId="14100"/>
          <ac:graphicFrameMkLst>
            <pc:docMk/>
            <pc:sldMk cId="3362277601" sldId="449"/>
            <ac:graphicFrameMk id="32" creationId="{B0F424F0-A47C-E1F6-13C1-AA02F978D782}"/>
          </ac:graphicFrameMkLst>
        </pc:graphicFrameChg>
        <pc:graphicFrameChg chg="add mod">
          <ac:chgData name="Dmitriy Shumekov" userId="ffbf198107bbd5ce" providerId="LiveId" clId="{167BE94B-8D3A-4531-9F68-529CDCD9B3C3}" dt="2025-04-15T11:12:09.743" v="4093"/>
          <ac:graphicFrameMkLst>
            <pc:docMk/>
            <pc:sldMk cId="3362277601" sldId="449"/>
            <ac:graphicFrameMk id="33" creationId="{AB35ACE5-3B99-3CDA-9C14-A8E8FFCE98E0}"/>
          </ac:graphicFrameMkLst>
        </pc:graphicFrameChg>
        <pc:graphicFrameChg chg="add mod modGraphic">
          <ac:chgData name="Dmitriy Shumekov" userId="ffbf198107bbd5ce" providerId="LiveId" clId="{167BE94B-8D3A-4531-9F68-529CDCD9B3C3}" dt="2025-04-15T11:11:48.331" v="4086" actId="14100"/>
          <ac:graphicFrameMkLst>
            <pc:docMk/>
            <pc:sldMk cId="3362277601" sldId="449"/>
            <ac:graphicFrameMk id="34" creationId="{43E3F145-89E3-8EC0-51AC-DAAEBE64025C}"/>
          </ac:graphicFrameMkLst>
        </pc:graphicFrameChg>
        <pc:graphicFrameChg chg="add mod">
          <ac:chgData name="Dmitriy Shumekov" userId="ffbf198107bbd5ce" providerId="LiveId" clId="{167BE94B-8D3A-4531-9F68-529CDCD9B3C3}" dt="2025-04-15T11:12:24.417" v="4099" actId="1076"/>
          <ac:graphicFrameMkLst>
            <pc:docMk/>
            <pc:sldMk cId="3362277601" sldId="449"/>
            <ac:graphicFrameMk id="35" creationId="{49F41C05-BEFD-47B1-7396-25E548C3FD9A}"/>
          </ac:graphicFrameMkLst>
        </pc:graphicFrameChg>
        <pc:cxnChg chg="add mod">
          <ac:chgData name="Dmitriy Shumekov" userId="ffbf198107bbd5ce" providerId="LiveId" clId="{167BE94B-8D3A-4531-9F68-529CDCD9B3C3}" dt="2025-04-15T11:05:22.222" v="4048" actId="1076"/>
          <ac:cxnSpMkLst>
            <pc:docMk/>
            <pc:sldMk cId="3362277601" sldId="449"/>
            <ac:cxnSpMk id="39" creationId="{A2CEDDF3-06C1-B167-23DF-869A292B1B44}"/>
          </ac:cxnSpMkLst>
        </pc:cxnChg>
        <pc:cxnChg chg="add mod">
          <ac:chgData name="Dmitriy Shumekov" userId="ffbf198107bbd5ce" providerId="LiveId" clId="{167BE94B-8D3A-4531-9F68-529CDCD9B3C3}" dt="2025-04-15T11:04:50.347" v="4031" actId="14100"/>
          <ac:cxnSpMkLst>
            <pc:docMk/>
            <pc:sldMk cId="3362277601" sldId="449"/>
            <ac:cxnSpMk id="40" creationId="{016D66A8-3914-F409-0249-6D9A8C050E4D}"/>
          </ac:cxnSpMkLst>
        </pc:cxnChg>
        <pc:cxnChg chg="add mod">
          <ac:chgData name="Dmitriy Shumekov" userId="ffbf198107bbd5ce" providerId="LiveId" clId="{167BE94B-8D3A-4531-9F68-529CDCD9B3C3}" dt="2025-04-15T11:05:24.281" v="4049" actId="571"/>
          <ac:cxnSpMkLst>
            <pc:docMk/>
            <pc:sldMk cId="3362277601" sldId="449"/>
            <ac:cxnSpMk id="45" creationId="{9AAFA478-673B-F846-CA3C-37697FA1EB32}"/>
          </ac:cxnSpMkLst>
        </pc:cxnChg>
        <pc:cxnChg chg="add mod">
          <ac:chgData name="Dmitriy Shumekov" userId="ffbf198107bbd5ce" providerId="LiveId" clId="{167BE94B-8D3A-4531-9F68-529CDCD9B3C3}" dt="2025-04-15T11:11:43.482" v="4085" actId="1076"/>
          <ac:cxnSpMkLst>
            <pc:docMk/>
            <pc:sldMk cId="3362277601" sldId="449"/>
            <ac:cxnSpMk id="46" creationId="{902FEAA6-4D1D-7164-54F6-B2888012DF43}"/>
          </ac:cxnSpMkLst>
        </pc:cxnChg>
        <pc:cxnChg chg="add mod">
          <ac:chgData name="Dmitriy Shumekov" userId="ffbf198107bbd5ce" providerId="LiveId" clId="{167BE94B-8D3A-4531-9F68-529CDCD9B3C3}" dt="2025-04-15T11:05:42.035" v="4053" actId="571"/>
          <ac:cxnSpMkLst>
            <pc:docMk/>
            <pc:sldMk cId="3362277601" sldId="449"/>
            <ac:cxnSpMk id="47" creationId="{B26E3C07-8AEB-23C9-6B10-B31E6A65A09B}"/>
          </ac:cxnSpMkLst>
        </pc:cxn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2127099359" sldId="450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127099359" sldId="450"/>
            <ac:spMk id="3" creationId="{5FDA02F9-ACFE-59FB-4100-E32BC1C69DF0}"/>
          </ac:spMkLst>
        </pc:spChg>
        <pc:spChg chg="add mod">
          <ac:chgData name="Dmitriy Shumekov" userId="ffbf198107bbd5ce" providerId="LiveId" clId="{167BE94B-8D3A-4531-9F68-529CDCD9B3C3}" dt="2025-04-15T11:41:27.044" v="4120"/>
          <ac:spMkLst>
            <pc:docMk/>
            <pc:sldMk cId="2127099359" sldId="450"/>
            <ac:spMk id="4" creationId="{EBA8254C-9D21-150E-8683-A1058434871D}"/>
          </ac:spMkLst>
        </pc:spChg>
        <pc:spChg chg="add mod">
          <ac:chgData name="Dmitriy Shumekov" userId="ffbf198107bbd5ce" providerId="LiveId" clId="{167BE94B-8D3A-4531-9F68-529CDCD9B3C3}" dt="2025-04-15T11:41:32.915" v="4123" actId="14100"/>
          <ac:spMkLst>
            <pc:docMk/>
            <pc:sldMk cId="2127099359" sldId="450"/>
            <ac:spMk id="5" creationId="{BF4B654A-5767-E45A-1579-667D3452C102}"/>
          </ac:spMkLst>
        </pc:spChg>
        <pc:spChg chg="mod">
          <ac:chgData name="Dmitriy Shumekov" userId="ffbf198107bbd5ce" providerId="LiveId" clId="{167BE94B-8D3A-4531-9F68-529CDCD9B3C3}" dt="2025-04-15T11:45:42.204" v="4162" actId="20577"/>
          <ac:spMkLst>
            <pc:docMk/>
            <pc:sldMk cId="2127099359" sldId="450"/>
            <ac:spMk id="12" creationId="{8A7E4293-6742-1F1F-20C6-C1ED9B09E37C}"/>
          </ac:spMkLst>
        </pc:spChg>
        <pc:spChg chg="del">
          <ac:chgData name="Dmitriy Shumekov" userId="ffbf198107bbd5ce" providerId="LiveId" clId="{167BE94B-8D3A-4531-9F68-529CDCD9B3C3}" dt="2025-04-15T11:41:30.089" v="4121" actId="478"/>
          <ac:spMkLst>
            <pc:docMk/>
            <pc:sldMk cId="2127099359" sldId="450"/>
            <ac:spMk id="37" creationId="{48AE1990-9CF5-981A-E5BA-17361858E94E}"/>
          </ac:spMkLst>
        </pc:spChg>
        <pc:graphicFrameChg chg="mod">
          <ac:chgData name="Dmitriy Shumekov" userId="ffbf198107bbd5ce" providerId="LiveId" clId="{167BE94B-8D3A-4531-9F68-529CDCD9B3C3}" dt="2025-04-15T11:48:07.850" v="4183" actId="14100"/>
          <ac:graphicFrameMkLst>
            <pc:docMk/>
            <pc:sldMk cId="2127099359" sldId="450"/>
            <ac:graphicFrameMk id="31" creationId="{FA473942-4918-67B4-7058-03EE1D7863C8}"/>
          </ac:graphicFrameMkLst>
        </pc:graphicFrameChg>
      </pc:sldChg>
      <pc:sldChg chg="addSp delSp modSp add mod">
        <pc:chgData name="Dmitriy Shumekov" userId="ffbf198107bbd5ce" providerId="LiveId" clId="{167BE94B-8D3A-4531-9F68-529CDCD9B3C3}" dt="2025-04-16T11:10:05.877" v="5298"/>
        <pc:sldMkLst>
          <pc:docMk/>
          <pc:sldMk cId="38309850" sldId="451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8309850" sldId="451"/>
            <ac:spMk id="3" creationId="{F811E721-612A-A6AE-E278-F0136D97524B}"/>
          </ac:spMkLst>
        </pc:spChg>
        <pc:spChg chg="mod">
          <ac:chgData name="Dmitriy Shumekov" userId="ffbf198107bbd5ce" providerId="LiveId" clId="{167BE94B-8D3A-4531-9F68-529CDCD9B3C3}" dt="2025-04-15T11:41:44.831" v="4159" actId="20577"/>
          <ac:spMkLst>
            <pc:docMk/>
            <pc:sldMk cId="38309850" sldId="451"/>
            <ac:spMk id="5" creationId="{36DA0E60-4C49-2238-F5EB-EA67B4622A70}"/>
          </ac:spMkLst>
        </pc:spChg>
        <pc:spChg chg="mod">
          <ac:chgData name="Dmitriy Shumekov" userId="ffbf198107bbd5ce" providerId="LiveId" clId="{167BE94B-8D3A-4531-9F68-529CDCD9B3C3}" dt="2025-04-15T11:49:44.320" v="4198" actId="20577"/>
          <ac:spMkLst>
            <pc:docMk/>
            <pc:sldMk cId="38309850" sldId="451"/>
            <ac:spMk id="12" creationId="{2E91FE7C-4474-2F20-5BA2-C1703B3335EB}"/>
          </ac:spMkLst>
        </pc:spChg>
        <pc:graphicFrameChg chg="mod">
          <ac:chgData name="Dmitriy Shumekov" userId="ffbf198107bbd5ce" providerId="LiveId" clId="{167BE94B-8D3A-4531-9F68-529CDCD9B3C3}" dt="2025-04-15T11:51:26.111" v="4217"/>
          <ac:graphicFrameMkLst>
            <pc:docMk/>
            <pc:sldMk cId="38309850" sldId="451"/>
            <ac:graphicFrameMk id="27" creationId="{890E1EAB-C205-9760-D475-D8788D082B9B}"/>
          </ac:graphicFrameMkLst>
        </pc:graphicFrameChg>
        <pc:graphicFrameChg chg="add del mod">
          <ac:chgData name="Dmitriy Shumekov" userId="ffbf198107bbd5ce" providerId="LiveId" clId="{167BE94B-8D3A-4531-9F68-529CDCD9B3C3}" dt="2025-04-15T11:52:48.648" v="4233" actId="14100"/>
          <ac:graphicFrameMkLst>
            <pc:docMk/>
            <pc:sldMk cId="38309850" sldId="451"/>
            <ac:graphicFrameMk id="31" creationId="{FF3C7F32-8E30-1F86-BEAE-48AB21DD1357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417728704" sldId="45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17728704" sldId="452"/>
            <ac:spMk id="3" creationId="{64B60638-A9FF-20A1-9258-247B5B262742}"/>
          </ac:spMkLst>
        </pc:spChg>
        <pc:graphicFrameChg chg="mod modGraphic">
          <ac:chgData name="Dmitriy Shumekov" userId="ffbf198107bbd5ce" providerId="LiveId" clId="{167BE94B-8D3A-4531-9F68-529CDCD9B3C3}" dt="2025-04-15T13:02:46.785" v="4576" actId="255"/>
          <ac:graphicFrameMkLst>
            <pc:docMk/>
            <pc:sldMk cId="417728704" sldId="452"/>
            <ac:graphicFrameMk id="4" creationId="{879B3274-969A-0E77-E4AE-A6C5E78540FD}"/>
          </ac:graphicFrameMkLst>
        </pc:graphicFrameChg>
      </pc:sldChg>
      <pc:sldChg chg="addSp delSp modSp add del mod">
        <pc:chgData name="Dmitriy Shumekov" userId="ffbf198107bbd5ce" providerId="LiveId" clId="{167BE94B-8D3A-4531-9F68-529CDCD9B3C3}" dt="2025-04-15T12:53:37.825" v="4493" actId="2696"/>
        <pc:sldMkLst>
          <pc:docMk/>
          <pc:sldMk cId="2915563427" sldId="452"/>
        </pc:sldMkLst>
        <pc:spChg chg="mod">
          <ac:chgData name="Dmitriy Shumekov" userId="ffbf198107bbd5ce" providerId="LiveId" clId="{167BE94B-8D3A-4531-9F68-529CDCD9B3C3}" dt="2025-04-15T11:55:07.220" v="4249"/>
          <ac:spMkLst>
            <pc:docMk/>
            <pc:sldMk cId="2915563427" sldId="452"/>
            <ac:spMk id="2" creationId="{FF81BBA6-F204-C078-8AEF-CC96BE163B00}"/>
          </ac:spMkLst>
        </pc:spChg>
        <pc:spChg chg="del">
          <ac:chgData name="Dmitriy Shumekov" userId="ffbf198107bbd5ce" providerId="LiveId" clId="{167BE94B-8D3A-4531-9F68-529CDCD9B3C3}" dt="2025-04-15T11:55:12.279" v="4250" actId="478"/>
          <ac:spMkLst>
            <pc:docMk/>
            <pc:sldMk cId="2915563427" sldId="452"/>
            <ac:spMk id="5" creationId="{4E6385A7-2F8B-9E4E-C6EA-3A701C68C546}"/>
          </ac:spMkLst>
        </pc:spChg>
        <pc:graphicFrameChg chg="add mod modGraphic">
          <ac:chgData name="Dmitriy Shumekov" userId="ffbf198107bbd5ce" providerId="LiveId" clId="{167BE94B-8D3A-4531-9F68-529CDCD9B3C3}" dt="2025-04-15T11:58:33.203" v="4327" actId="14734"/>
          <ac:graphicFrameMkLst>
            <pc:docMk/>
            <pc:sldMk cId="2915563427" sldId="452"/>
            <ac:graphicFrameMk id="4" creationId="{879B3274-969A-0E77-E4AE-A6C5E78540FD}"/>
          </ac:graphicFrameMkLst>
        </pc:graphicFrameChg>
        <pc:graphicFrameChg chg="del">
          <ac:chgData name="Dmitriy Shumekov" userId="ffbf198107bbd5ce" providerId="LiveId" clId="{167BE94B-8D3A-4531-9F68-529CDCD9B3C3}" dt="2025-04-15T11:54:56.964" v="4246" actId="478"/>
          <ac:graphicFrameMkLst>
            <pc:docMk/>
            <pc:sldMk cId="2915563427" sldId="452"/>
            <ac:graphicFrameMk id="9" creationId="{08FC020D-2557-FCD8-A6E9-DE466F2BCCF6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952046759" sldId="453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952046759" sldId="453"/>
            <ac:spMk id="3" creationId="{6B018422-C94C-D6B9-4F45-DF0AE57FAF46}"/>
          </ac:spMkLst>
        </pc:spChg>
        <pc:graphicFrameChg chg="mod modGraphic">
          <ac:chgData name="Dmitriy Shumekov" userId="ffbf198107bbd5ce" providerId="LiveId" clId="{167BE94B-8D3A-4531-9F68-529CDCD9B3C3}" dt="2025-04-15T13:25:48.768" v="4698" actId="3064"/>
          <ac:graphicFrameMkLst>
            <pc:docMk/>
            <pc:sldMk cId="952046759" sldId="453"/>
            <ac:graphicFrameMk id="4" creationId="{8C97BD56-4557-2066-8EF5-48788AE0722D}"/>
          </ac:graphicFrameMkLst>
        </pc:graphicFrameChg>
      </pc:sldChg>
      <pc:sldChg chg="modSp add del mod">
        <pc:chgData name="Dmitriy Shumekov" userId="ffbf198107bbd5ce" providerId="LiveId" clId="{167BE94B-8D3A-4531-9F68-529CDCD9B3C3}" dt="2025-04-15T12:53:37.825" v="4493" actId="2696"/>
        <pc:sldMkLst>
          <pc:docMk/>
          <pc:sldMk cId="2777389349" sldId="453"/>
        </pc:sldMkLst>
        <pc:spChg chg="mod">
          <ac:chgData name="Dmitriy Shumekov" userId="ffbf198107bbd5ce" providerId="LiveId" clId="{167BE94B-8D3A-4531-9F68-529CDCD9B3C3}" dt="2025-04-15T11:58:53.757" v="4331" actId="20577"/>
          <ac:spMkLst>
            <pc:docMk/>
            <pc:sldMk cId="2777389349" sldId="453"/>
            <ac:spMk id="2" creationId="{FB950469-422D-FB61-DDAA-E36B3A26007F}"/>
          </ac:spMkLst>
        </pc:spChg>
        <pc:graphicFrameChg chg="mod modGraphic">
          <ac:chgData name="Dmitriy Shumekov" userId="ffbf198107bbd5ce" providerId="LiveId" clId="{167BE94B-8D3A-4531-9F68-529CDCD9B3C3}" dt="2025-04-15T11:59:34.143" v="4340" actId="404"/>
          <ac:graphicFrameMkLst>
            <pc:docMk/>
            <pc:sldMk cId="2777389349" sldId="453"/>
            <ac:graphicFrameMk id="4" creationId="{8C97BD56-4557-2066-8EF5-48788AE0722D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052151957" sldId="454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052151957" sldId="454"/>
            <ac:spMk id="3" creationId="{656BF121-FE5C-5DE9-5222-06322F8AF37C}"/>
          </ac:spMkLst>
        </pc:spChg>
        <pc:graphicFrameChg chg="mod modGraphic">
          <ac:chgData name="Dmitriy Shumekov" userId="ffbf198107bbd5ce" providerId="LiveId" clId="{167BE94B-8D3A-4531-9F68-529CDCD9B3C3}" dt="2025-04-15T13:25:43.543" v="4697" actId="3064"/>
          <ac:graphicFrameMkLst>
            <pc:docMk/>
            <pc:sldMk cId="1052151957" sldId="454"/>
            <ac:graphicFrameMk id="4" creationId="{573033EF-2A93-C8C7-E23C-5457820EC3E9}"/>
          </ac:graphicFrameMkLst>
        </pc:graphicFrameChg>
      </pc:sldChg>
      <pc:sldChg chg="modSp add del mod">
        <pc:chgData name="Dmitriy Shumekov" userId="ffbf198107bbd5ce" providerId="LiveId" clId="{167BE94B-8D3A-4531-9F68-529CDCD9B3C3}" dt="2025-04-15T12:53:37.825" v="4493" actId="2696"/>
        <pc:sldMkLst>
          <pc:docMk/>
          <pc:sldMk cId="1765088486" sldId="454"/>
        </pc:sldMkLst>
        <pc:spChg chg="mod">
          <ac:chgData name="Dmitriy Shumekov" userId="ffbf198107bbd5ce" providerId="LiveId" clId="{167BE94B-8D3A-4531-9F68-529CDCD9B3C3}" dt="2025-04-15T11:58:57.461" v="4332" actId="20577"/>
          <ac:spMkLst>
            <pc:docMk/>
            <pc:sldMk cId="1765088486" sldId="454"/>
            <ac:spMk id="2" creationId="{DEEA0DDE-B788-224A-A331-F4CF8C8A8643}"/>
          </ac:spMkLst>
        </pc:spChg>
        <pc:graphicFrameChg chg="mod modGraphic">
          <ac:chgData name="Dmitriy Shumekov" userId="ffbf198107bbd5ce" providerId="LiveId" clId="{167BE94B-8D3A-4531-9F68-529CDCD9B3C3}" dt="2025-04-15T11:59:44.759" v="4343" actId="403"/>
          <ac:graphicFrameMkLst>
            <pc:docMk/>
            <pc:sldMk cId="1765088486" sldId="454"/>
            <ac:graphicFrameMk id="4" creationId="{573033EF-2A93-C8C7-E23C-5457820EC3E9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911450529" sldId="455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911450529" sldId="455"/>
            <ac:spMk id="3" creationId="{61C0E014-C59C-B06D-2D8F-A477811E5ADB}"/>
          </ac:spMkLst>
        </pc:spChg>
        <pc:graphicFrameChg chg="mod modGraphic">
          <ac:chgData name="Dmitriy Shumekov" userId="ffbf198107bbd5ce" providerId="LiveId" clId="{167BE94B-8D3A-4531-9F68-529CDCD9B3C3}" dt="2025-04-15T13:25:40.727" v="4696" actId="3064"/>
          <ac:graphicFrameMkLst>
            <pc:docMk/>
            <pc:sldMk cId="1911450529" sldId="455"/>
            <ac:graphicFrameMk id="4" creationId="{EFE71ED8-B37D-D3FC-B41A-B4AB28356BCC}"/>
          </ac:graphicFrameMkLst>
        </pc:graphicFrameChg>
      </pc:sldChg>
      <pc:sldChg chg="addSp modSp add del mod">
        <pc:chgData name="Dmitriy Shumekov" userId="ffbf198107bbd5ce" providerId="LiveId" clId="{167BE94B-8D3A-4531-9F68-529CDCD9B3C3}" dt="2025-04-15T12:53:37.825" v="4493" actId="2696"/>
        <pc:sldMkLst>
          <pc:docMk/>
          <pc:sldMk cId="3382695340" sldId="455"/>
        </pc:sldMkLst>
        <pc:spChg chg="mod">
          <ac:chgData name="Dmitriy Shumekov" userId="ffbf198107bbd5ce" providerId="LiveId" clId="{167BE94B-8D3A-4531-9F68-529CDCD9B3C3}" dt="2025-04-15T11:59:00.194" v="4333" actId="20577"/>
          <ac:spMkLst>
            <pc:docMk/>
            <pc:sldMk cId="3382695340" sldId="455"/>
            <ac:spMk id="2" creationId="{A2A9CE05-63EB-867F-CFC6-735BB60CE9FE}"/>
          </ac:spMkLst>
        </pc:spChg>
        <pc:spChg chg="add mod">
          <ac:chgData name="Dmitriy Shumekov" userId="ffbf198107bbd5ce" providerId="LiveId" clId="{167BE94B-8D3A-4531-9F68-529CDCD9B3C3}" dt="2025-04-15T12:47:51.375" v="4436" actId="20577"/>
          <ac:spMkLst>
            <pc:docMk/>
            <pc:sldMk cId="3382695340" sldId="455"/>
            <ac:spMk id="5" creationId="{E141E735-3B2B-928B-58D0-845DA87510B5}"/>
          </ac:spMkLst>
        </pc:spChg>
        <pc:graphicFrameChg chg="mod modGraphic">
          <ac:chgData name="Dmitriy Shumekov" userId="ffbf198107bbd5ce" providerId="LiveId" clId="{167BE94B-8D3A-4531-9F68-529CDCD9B3C3}" dt="2025-04-15T12:47:16.008" v="4347" actId="14100"/>
          <ac:graphicFrameMkLst>
            <pc:docMk/>
            <pc:sldMk cId="3382695340" sldId="455"/>
            <ac:graphicFrameMk id="4" creationId="{EFE71ED8-B37D-D3FC-B41A-B4AB28356BCC}"/>
          </ac:graphicFrameMkLst>
        </pc:graphicFrameChg>
      </pc:sldChg>
      <pc:sldChg chg="modSp add mod">
        <pc:chgData name="Dmitriy Shumekov" userId="ffbf198107bbd5ce" providerId="LiveId" clId="{167BE94B-8D3A-4531-9F68-529CDCD9B3C3}" dt="2025-04-15T12:53:30.120" v="4492" actId="20577"/>
        <pc:sldMkLst>
          <pc:docMk/>
          <pc:sldMk cId="905781617" sldId="456"/>
        </pc:sldMkLst>
        <pc:spChg chg="mod">
          <ac:chgData name="Dmitriy Shumekov" userId="ffbf198107bbd5ce" providerId="LiveId" clId="{167BE94B-8D3A-4531-9F68-529CDCD9B3C3}" dt="2025-04-15T12:53:30.120" v="4492" actId="20577"/>
          <ac:spMkLst>
            <pc:docMk/>
            <pc:sldMk cId="905781617" sldId="456"/>
            <ac:spMk id="6" creationId="{1B7AD336-4D40-9362-39CB-691780BEC7CF}"/>
          </ac:spMkLst>
        </pc:sp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766776471" sldId="457"/>
        </pc:sldMkLst>
        <pc:spChg chg="mod">
          <ac:chgData name="Dmitriy Shumekov" userId="ffbf198107bbd5ce" providerId="LiveId" clId="{167BE94B-8D3A-4531-9F68-529CDCD9B3C3}" dt="2025-04-15T13:00:31.829" v="4562" actId="20577"/>
          <ac:spMkLst>
            <pc:docMk/>
            <pc:sldMk cId="766776471" sldId="457"/>
            <ac:spMk id="2" creationId="{88FCC9C8-85C3-1649-E9B9-B7C3DDF4FF4B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766776471" sldId="457"/>
            <ac:spMk id="3" creationId="{2894EDE6-76C8-2684-4B12-E971160F7094}"/>
          </ac:spMkLst>
        </pc:spChg>
        <pc:graphicFrameChg chg="mod modGraphic">
          <ac:chgData name="Dmitriy Shumekov" userId="ffbf198107bbd5ce" providerId="LiveId" clId="{167BE94B-8D3A-4531-9F68-529CDCD9B3C3}" dt="2025-04-15T13:25:31.170" v="4693" actId="3064"/>
          <ac:graphicFrameMkLst>
            <pc:docMk/>
            <pc:sldMk cId="766776471" sldId="457"/>
            <ac:graphicFrameMk id="4" creationId="{2F503B9C-3DA9-D05C-A764-EB727E1423CC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264004226" sldId="458"/>
        </pc:sldMkLst>
        <pc:spChg chg="mod">
          <ac:chgData name="Dmitriy Shumekov" userId="ffbf198107bbd5ce" providerId="LiveId" clId="{167BE94B-8D3A-4531-9F68-529CDCD9B3C3}" dt="2025-04-15T13:00:36.287" v="4563"/>
          <ac:spMkLst>
            <pc:docMk/>
            <pc:sldMk cId="1264004226" sldId="458"/>
            <ac:spMk id="2" creationId="{5BA65955-F096-F318-9148-101777EBDC66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264004226" sldId="458"/>
            <ac:spMk id="3" creationId="{6848F8F7-A7DB-20EB-A020-08318169DE49}"/>
          </ac:spMkLst>
        </pc:spChg>
        <pc:graphicFrameChg chg="mod modGraphic">
          <ac:chgData name="Dmitriy Shumekov" userId="ffbf198107bbd5ce" providerId="LiveId" clId="{167BE94B-8D3A-4531-9F68-529CDCD9B3C3}" dt="2025-04-15T13:25:28.729" v="4692" actId="3064"/>
          <ac:graphicFrameMkLst>
            <pc:docMk/>
            <pc:sldMk cId="1264004226" sldId="458"/>
            <ac:graphicFrameMk id="4" creationId="{AFCF093C-B6A4-C6F3-3519-2A525C804D00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704493554" sldId="459"/>
        </pc:sldMkLst>
        <pc:spChg chg="mod">
          <ac:chgData name="Dmitriy Shumekov" userId="ffbf198107bbd5ce" providerId="LiveId" clId="{167BE94B-8D3A-4531-9F68-529CDCD9B3C3}" dt="2025-04-15T13:00:38.772" v="4564"/>
          <ac:spMkLst>
            <pc:docMk/>
            <pc:sldMk cId="1704493554" sldId="459"/>
            <ac:spMk id="2" creationId="{C70C6649-154D-A7CB-F5E6-3633F92FFD90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704493554" sldId="459"/>
            <ac:spMk id="3" creationId="{8F318414-E243-2884-CA7D-D54084CFB0FB}"/>
          </ac:spMkLst>
        </pc:spChg>
        <pc:graphicFrameChg chg="mod modGraphic">
          <ac:chgData name="Dmitriy Shumekov" userId="ffbf198107bbd5ce" providerId="LiveId" clId="{167BE94B-8D3A-4531-9F68-529CDCD9B3C3}" dt="2025-04-15T13:25:25.441" v="4691" actId="3064"/>
          <ac:graphicFrameMkLst>
            <pc:docMk/>
            <pc:sldMk cId="1704493554" sldId="459"/>
            <ac:graphicFrameMk id="4" creationId="{B418A6CB-02C9-D9BA-31E5-7FF1635745C8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183049338" sldId="460"/>
        </pc:sldMkLst>
        <pc:spChg chg="mod">
          <ac:chgData name="Dmitriy Shumekov" userId="ffbf198107bbd5ce" providerId="LiveId" clId="{167BE94B-8D3A-4531-9F68-529CDCD9B3C3}" dt="2025-04-15T13:00:41.610" v="4565"/>
          <ac:spMkLst>
            <pc:docMk/>
            <pc:sldMk cId="2183049338" sldId="460"/>
            <ac:spMk id="2" creationId="{CCC7175A-7FF1-46AD-D5CE-0146DBC681BE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183049338" sldId="460"/>
            <ac:spMk id="3" creationId="{AB293587-3FB6-79DC-C980-B6A3B7F1AD1E}"/>
          </ac:spMkLst>
        </pc:spChg>
        <pc:graphicFrameChg chg="mod modGraphic">
          <ac:chgData name="Dmitriy Shumekov" userId="ffbf198107bbd5ce" providerId="LiveId" clId="{167BE94B-8D3A-4531-9F68-529CDCD9B3C3}" dt="2025-04-15T13:25:23.329" v="4690" actId="3064"/>
          <ac:graphicFrameMkLst>
            <pc:docMk/>
            <pc:sldMk cId="2183049338" sldId="460"/>
            <ac:graphicFrameMk id="4" creationId="{3BE3BAAE-BE34-4126-0AD4-1FA1CB693DFA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429931366" sldId="461"/>
        </pc:sldMkLst>
        <pc:spChg chg="mod">
          <ac:chgData name="Dmitriy Shumekov" userId="ffbf198107bbd5ce" providerId="LiveId" clId="{167BE94B-8D3A-4531-9F68-529CDCD9B3C3}" dt="2025-04-15T13:04:10.817" v="4607" actId="20577"/>
          <ac:spMkLst>
            <pc:docMk/>
            <pc:sldMk cId="429931366" sldId="461"/>
            <ac:spMk id="2" creationId="{415E8524-1A5D-3EC7-F065-B9BFF3E018CA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29931366" sldId="461"/>
            <ac:spMk id="3" creationId="{DF3087C6-93B3-CE04-B334-FCCED2C93F26}"/>
          </ac:spMkLst>
        </pc:spChg>
        <pc:graphicFrameChg chg="mod modGraphic">
          <ac:chgData name="Dmitriy Shumekov" userId="ffbf198107bbd5ce" providerId="LiveId" clId="{167BE94B-8D3A-4531-9F68-529CDCD9B3C3}" dt="2025-04-15T13:25:20.178" v="4689" actId="3064"/>
          <ac:graphicFrameMkLst>
            <pc:docMk/>
            <pc:sldMk cId="429931366" sldId="461"/>
            <ac:graphicFrameMk id="4" creationId="{EDFDFB54-4799-7C0B-704A-B1252E50E144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977776104" sldId="462"/>
        </pc:sldMkLst>
        <pc:spChg chg="mod">
          <ac:chgData name="Dmitriy Shumekov" userId="ffbf198107bbd5ce" providerId="LiveId" clId="{167BE94B-8D3A-4531-9F68-529CDCD9B3C3}" dt="2025-04-15T13:05:13.317" v="4620"/>
          <ac:spMkLst>
            <pc:docMk/>
            <pc:sldMk cId="977776104" sldId="462"/>
            <ac:spMk id="2" creationId="{29FB4F19-BB2C-59C7-9E9D-05BD46D10E26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977776104" sldId="462"/>
            <ac:spMk id="3" creationId="{D0075D1A-54BC-14DE-0169-44FA19F2ABBF}"/>
          </ac:spMkLst>
        </pc:spChg>
        <pc:graphicFrameChg chg="mod modGraphic">
          <ac:chgData name="Dmitriy Shumekov" userId="ffbf198107bbd5ce" providerId="LiveId" clId="{167BE94B-8D3A-4531-9F68-529CDCD9B3C3}" dt="2025-04-15T13:25:17.739" v="4688" actId="3064"/>
          <ac:graphicFrameMkLst>
            <pc:docMk/>
            <pc:sldMk cId="977776104" sldId="462"/>
            <ac:graphicFrameMk id="4" creationId="{EF5B2752-3A19-605B-0D33-C56139651BBA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4062817714" sldId="463"/>
        </pc:sldMkLst>
        <pc:spChg chg="mod">
          <ac:chgData name="Dmitriy Shumekov" userId="ffbf198107bbd5ce" providerId="LiveId" clId="{167BE94B-8D3A-4531-9F68-529CDCD9B3C3}" dt="2025-04-15T13:05:15.667" v="4621"/>
          <ac:spMkLst>
            <pc:docMk/>
            <pc:sldMk cId="4062817714" sldId="463"/>
            <ac:spMk id="2" creationId="{BD491612-94F8-CD23-26D8-BCE6EFDDC3B7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062817714" sldId="463"/>
            <ac:spMk id="3" creationId="{849BD7BA-0635-9F5D-1345-F51C0878EA67}"/>
          </ac:spMkLst>
        </pc:spChg>
        <pc:graphicFrameChg chg="mod modGraphic">
          <ac:chgData name="Dmitriy Shumekov" userId="ffbf198107bbd5ce" providerId="LiveId" clId="{167BE94B-8D3A-4531-9F68-529CDCD9B3C3}" dt="2025-04-15T13:25:14.940" v="4687" actId="3064"/>
          <ac:graphicFrameMkLst>
            <pc:docMk/>
            <pc:sldMk cId="4062817714" sldId="463"/>
            <ac:graphicFrameMk id="4" creationId="{6CE170D0-5355-3CAF-8173-3BBAE2EBD930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649810080" sldId="464"/>
        </pc:sldMkLst>
        <pc:spChg chg="mod">
          <ac:chgData name="Dmitriy Shumekov" userId="ffbf198107bbd5ce" providerId="LiveId" clId="{167BE94B-8D3A-4531-9F68-529CDCD9B3C3}" dt="2025-04-15T13:05:18.154" v="4622"/>
          <ac:spMkLst>
            <pc:docMk/>
            <pc:sldMk cId="2649810080" sldId="464"/>
            <ac:spMk id="2" creationId="{DD7B758D-241C-B7CB-BBF5-61580B6E907E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649810080" sldId="464"/>
            <ac:spMk id="3" creationId="{4C57ED69-0BAC-B90D-96A1-EA5EC8D3103F}"/>
          </ac:spMkLst>
        </pc:spChg>
        <pc:graphicFrameChg chg="mod modGraphic">
          <ac:chgData name="Dmitriy Shumekov" userId="ffbf198107bbd5ce" providerId="LiveId" clId="{167BE94B-8D3A-4531-9F68-529CDCD9B3C3}" dt="2025-04-15T13:25:12.019" v="4686" actId="3064"/>
          <ac:graphicFrameMkLst>
            <pc:docMk/>
            <pc:sldMk cId="2649810080" sldId="464"/>
            <ac:graphicFrameMk id="4" creationId="{7D735542-42EF-983C-B8C9-4BD661A5511E}"/>
          </ac:graphicFrameMkLst>
        </pc:graphicFrameChg>
      </pc:sldChg>
      <pc:sldChg chg="modSp add mod">
        <pc:chgData name="Dmitriy Shumekov" userId="ffbf198107bbd5ce" providerId="LiveId" clId="{167BE94B-8D3A-4531-9F68-529CDCD9B3C3}" dt="2025-04-15T13:05:32.328" v="4647" actId="20577"/>
        <pc:sldMkLst>
          <pc:docMk/>
          <pc:sldMk cId="253869141" sldId="465"/>
        </pc:sldMkLst>
        <pc:spChg chg="mod">
          <ac:chgData name="Dmitriy Shumekov" userId="ffbf198107bbd5ce" providerId="LiveId" clId="{167BE94B-8D3A-4531-9F68-529CDCD9B3C3}" dt="2025-04-15T13:05:32.328" v="4647" actId="20577"/>
          <ac:spMkLst>
            <pc:docMk/>
            <pc:sldMk cId="253869141" sldId="465"/>
            <ac:spMk id="6" creationId="{4EE8810D-8A8A-AE09-F5FF-36E6DD61EF7D}"/>
          </ac:spMkLst>
        </pc:sp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879613659" sldId="466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879613659" sldId="466"/>
            <ac:spMk id="3" creationId="{69CE6524-B83F-E8AD-8767-2006DEFA593D}"/>
          </ac:spMkLst>
        </pc:spChg>
        <pc:graphicFrameChg chg="mod modGraphic">
          <ac:chgData name="Dmitriy Shumekov" userId="ffbf198107bbd5ce" providerId="LiveId" clId="{167BE94B-8D3A-4531-9F68-529CDCD9B3C3}" dt="2025-04-15T13:25:08.491" v="4685" actId="3064"/>
          <ac:graphicFrameMkLst>
            <pc:docMk/>
            <pc:sldMk cId="3879613659" sldId="466"/>
            <ac:graphicFrameMk id="4" creationId="{21427AE0-4D45-AAD1-55A2-EE6D1FDFAD94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194330795" sldId="46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194330795" sldId="467"/>
            <ac:spMk id="3" creationId="{28760DF3-8FB6-C718-615C-51B850D10143}"/>
          </ac:spMkLst>
        </pc:spChg>
        <pc:graphicFrameChg chg="mod modGraphic">
          <ac:chgData name="Dmitriy Shumekov" userId="ffbf198107bbd5ce" providerId="LiveId" clId="{167BE94B-8D3A-4531-9F68-529CDCD9B3C3}" dt="2025-04-15T13:25:05.021" v="4684" actId="3064"/>
          <ac:graphicFrameMkLst>
            <pc:docMk/>
            <pc:sldMk cId="1194330795" sldId="467"/>
            <ac:graphicFrameMk id="4" creationId="{3FFD09FA-2A8D-FD2E-6058-1BF784C22A0D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499929333" sldId="468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499929333" sldId="468"/>
            <ac:spMk id="3" creationId="{228A6F40-DA84-21CD-D7F9-D035D8DD066C}"/>
          </ac:spMkLst>
        </pc:spChg>
        <pc:graphicFrameChg chg="mod modGraphic">
          <ac:chgData name="Dmitriy Shumekov" userId="ffbf198107bbd5ce" providerId="LiveId" clId="{167BE94B-8D3A-4531-9F68-529CDCD9B3C3}" dt="2025-04-15T13:25:01.194" v="4683" actId="3064"/>
          <ac:graphicFrameMkLst>
            <pc:docMk/>
            <pc:sldMk cId="3499929333" sldId="468"/>
            <ac:graphicFrameMk id="4" creationId="{866CCF1B-D0D1-3306-7C98-EBEEA7CB4BCA}"/>
          </ac:graphicFrameMkLst>
        </pc:graphicFrameChg>
      </pc:sldChg>
      <pc:sldChg chg="delSp modSp add mod">
        <pc:chgData name="Dmitriy Shumekov" userId="ffbf198107bbd5ce" providerId="LiveId" clId="{167BE94B-8D3A-4531-9F68-529CDCD9B3C3}" dt="2025-04-16T11:10:05.877" v="5298"/>
        <pc:sldMkLst>
          <pc:docMk/>
          <pc:sldMk cId="1917734074" sldId="469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917734074" sldId="469"/>
            <ac:spMk id="3" creationId="{54AABC3D-6B19-7AE8-AAA8-468CE8041831}"/>
          </ac:spMkLst>
        </pc:spChg>
        <pc:spChg chg="del">
          <ac:chgData name="Dmitriy Shumekov" userId="ffbf198107bbd5ce" providerId="LiveId" clId="{167BE94B-8D3A-4531-9F68-529CDCD9B3C3}" dt="2025-04-16T05:03:33.252" v="5069" actId="478"/>
          <ac:spMkLst>
            <pc:docMk/>
            <pc:sldMk cId="1917734074" sldId="469"/>
            <ac:spMk id="5" creationId="{FFA0A96B-B25C-7502-ACEB-4BF7A52A8E67}"/>
          </ac:spMkLst>
        </pc:spChg>
        <pc:graphicFrameChg chg="mod modGraphic">
          <ac:chgData name="Dmitriy Shumekov" userId="ffbf198107bbd5ce" providerId="LiveId" clId="{167BE94B-8D3A-4531-9F68-529CDCD9B3C3}" dt="2025-04-16T05:04:06.636" v="5074"/>
          <ac:graphicFrameMkLst>
            <pc:docMk/>
            <pc:sldMk cId="1917734074" sldId="469"/>
            <ac:graphicFrameMk id="4" creationId="{55669A99-6B70-5288-E87D-716006A59FA3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763965649" sldId="470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763965649" sldId="470"/>
            <ac:spMk id="3" creationId="{EB242090-C50E-2A08-76AA-0AA33918A50C}"/>
          </ac:spMkLst>
        </pc:spChg>
        <pc:graphicFrameChg chg="mod modGraphic">
          <ac:chgData name="Dmitriy Shumekov" userId="ffbf198107bbd5ce" providerId="LiveId" clId="{167BE94B-8D3A-4531-9F68-529CDCD9B3C3}" dt="2025-04-16T04:50:44.514" v="4716" actId="948"/>
          <ac:graphicFrameMkLst>
            <pc:docMk/>
            <pc:sldMk cId="3763965649" sldId="470"/>
            <ac:graphicFrameMk id="4" creationId="{338047BB-BFFD-8167-387D-509C196B7D7E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548199781" sldId="471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548199781" sldId="471"/>
            <ac:spMk id="3" creationId="{A16D2462-CBFF-1368-671F-876822898275}"/>
          </ac:spMkLst>
        </pc:spChg>
        <pc:graphicFrameChg chg="mod modGraphic">
          <ac:chgData name="Dmitriy Shumekov" userId="ffbf198107bbd5ce" providerId="LiveId" clId="{167BE94B-8D3A-4531-9F68-529CDCD9B3C3}" dt="2025-04-16T04:50:47.567" v="4717" actId="948"/>
          <ac:graphicFrameMkLst>
            <pc:docMk/>
            <pc:sldMk cId="3548199781" sldId="471"/>
            <ac:graphicFrameMk id="4" creationId="{749ECC85-1243-8045-2C7D-060B55D0CB61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370737092" sldId="472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370737092" sldId="472"/>
            <ac:spMk id="3" creationId="{29BCE959-D2BC-6ED4-7C23-A1C6F092FD69}"/>
          </ac:spMkLst>
        </pc:spChg>
        <pc:graphicFrameChg chg="mod modGraphic">
          <ac:chgData name="Dmitriy Shumekov" userId="ffbf198107bbd5ce" providerId="LiveId" clId="{167BE94B-8D3A-4531-9F68-529CDCD9B3C3}" dt="2025-04-16T04:50:50.244" v="4718" actId="948"/>
          <ac:graphicFrameMkLst>
            <pc:docMk/>
            <pc:sldMk cId="370737092" sldId="472"/>
            <ac:graphicFrameMk id="4" creationId="{94B548FA-F9B4-1CD1-C599-4BF1B5B31B3E}"/>
          </ac:graphicFrameMkLst>
        </pc:graphicFrameChg>
      </pc:sldChg>
      <pc:sldChg chg="delSp modSp add mod">
        <pc:chgData name="Dmitriy Shumekov" userId="ffbf198107bbd5ce" providerId="LiveId" clId="{167BE94B-8D3A-4531-9F68-529CDCD9B3C3}" dt="2025-04-16T11:10:05.877" v="5298"/>
        <pc:sldMkLst>
          <pc:docMk/>
          <pc:sldMk cId="1698377345" sldId="473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698377345" sldId="473"/>
            <ac:spMk id="3" creationId="{1E6CFA65-FBA6-2604-AA2C-22954160A4CD}"/>
          </ac:spMkLst>
        </pc:spChg>
        <pc:spChg chg="del">
          <ac:chgData name="Dmitriy Shumekov" userId="ffbf198107bbd5ce" providerId="LiveId" clId="{167BE94B-8D3A-4531-9F68-529CDCD9B3C3}" dt="2025-04-16T05:03:36.915" v="5070" actId="478"/>
          <ac:spMkLst>
            <pc:docMk/>
            <pc:sldMk cId="1698377345" sldId="473"/>
            <ac:spMk id="5" creationId="{3BF428E1-C141-27D4-3E79-71ABEC2B247C}"/>
          </ac:spMkLst>
        </pc:spChg>
        <pc:graphicFrameChg chg="mod modGraphic">
          <ac:chgData name="Dmitriy Shumekov" userId="ffbf198107bbd5ce" providerId="LiveId" clId="{167BE94B-8D3A-4531-9F68-529CDCD9B3C3}" dt="2025-04-16T05:04:02.959" v="5073"/>
          <ac:graphicFrameMkLst>
            <pc:docMk/>
            <pc:sldMk cId="1698377345" sldId="473"/>
            <ac:graphicFrameMk id="4" creationId="{E5BB9059-19CA-4335-48EC-DEA3E83B1FD7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982026475" sldId="474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982026475" sldId="474"/>
            <ac:spMk id="3" creationId="{AC120EA6-C385-37B5-69C0-4D7F682659E5}"/>
          </ac:spMkLst>
        </pc:spChg>
        <pc:graphicFrameChg chg="mod modGraphic">
          <ac:chgData name="Dmitriy Shumekov" userId="ffbf198107bbd5ce" providerId="LiveId" clId="{167BE94B-8D3A-4531-9F68-529CDCD9B3C3}" dt="2025-04-16T04:54:10.932" v="4732" actId="948"/>
          <ac:graphicFrameMkLst>
            <pc:docMk/>
            <pc:sldMk cId="982026475" sldId="474"/>
            <ac:graphicFrameMk id="4" creationId="{6448721F-AADF-7B3A-4CB2-E3EA50C72EAD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1222837333" sldId="475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1222837333" sldId="475"/>
            <ac:spMk id="3" creationId="{B42B4AAD-A198-FC1A-9D7C-77C956988BC3}"/>
          </ac:spMkLst>
        </pc:spChg>
        <pc:graphicFrameChg chg="mod modGraphic">
          <ac:chgData name="Dmitriy Shumekov" userId="ffbf198107bbd5ce" providerId="LiveId" clId="{167BE94B-8D3A-4531-9F68-529CDCD9B3C3}" dt="2025-04-16T04:54:13.758" v="4733" actId="948"/>
          <ac:graphicFrameMkLst>
            <pc:docMk/>
            <pc:sldMk cId="1222837333" sldId="475"/>
            <ac:graphicFrameMk id="4" creationId="{D168EE04-126D-D747-AC62-DF3650EC4FDA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2054006773" sldId="476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2054006773" sldId="476"/>
            <ac:spMk id="3" creationId="{94C9892F-4474-F92C-D35E-01815CB77D94}"/>
          </ac:spMkLst>
        </pc:spChg>
        <pc:graphicFrameChg chg="mod modGraphic">
          <ac:chgData name="Dmitriy Shumekov" userId="ffbf198107bbd5ce" providerId="LiveId" clId="{167BE94B-8D3A-4531-9F68-529CDCD9B3C3}" dt="2025-04-16T04:54:16.760" v="4734" actId="948"/>
          <ac:graphicFrameMkLst>
            <pc:docMk/>
            <pc:sldMk cId="2054006773" sldId="476"/>
            <ac:graphicFrameMk id="4" creationId="{1306E3E7-F9F8-7A72-E667-26E204375E1E}"/>
          </ac:graphicFrameMkLst>
        </pc:graphicFrameChg>
      </pc:sldChg>
      <pc:sldChg chg="delSp modSp add mod">
        <pc:chgData name="Dmitriy Shumekov" userId="ffbf198107bbd5ce" providerId="LiveId" clId="{167BE94B-8D3A-4531-9F68-529CDCD9B3C3}" dt="2025-04-16T11:10:05.877" v="5298"/>
        <pc:sldMkLst>
          <pc:docMk/>
          <pc:sldMk cId="775035678" sldId="477"/>
        </pc:sldMkLst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775035678" sldId="477"/>
            <ac:spMk id="3" creationId="{2BCA9B05-4E2B-97DE-F5DF-A6BD5446D567}"/>
          </ac:spMkLst>
        </pc:spChg>
        <pc:spChg chg="del">
          <ac:chgData name="Dmitriy Shumekov" userId="ffbf198107bbd5ce" providerId="LiveId" clId="{167BE94B-8D3A-4531-9F68-529CDCD9B3C3}" dt="2025-04-16T05:03:39.694" v="5071" actId="478"/>
          <ac:spMkLst>
            <pc:docMk/>
            <pc:sldMk cId="775035678" sldId="477"/>
            <ac:spMk id="5" creationId="{19A53438-2C39-9160-6A28-D8A57CB3B5E3}"/>
          </ac:spMkLst>
        </pc:spChg>
        <pc:graphicFrameChg chg="mod modGraphic">
          <ac:chgData name="Dmitriy Shumekov" userId="ffbf198107bbd5ce" providerId="LiveId" clId="{167BE94B-8D3A-4531-9F68-529CDCD9B3C3}" dt="2025-04-16T05:03:58.241" v="5072"/>
          <ac:graphicFrameMkLst>
            <pc:docMk/>
            <pc:sldMk cId="775035678" sldId="477"/>
            <ac:graphicFrameMk id="4" creationId="{116C9B7C-5771-F2FE-870B-586D44A5EDEF}"/>
          </ac:graphicFrameMkLst>
        </pc:graphicFrame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595619905" sldId="478"/>
        </pc:sldMkLst>
        <pc:spChg chg="mod">
          <ac:chgData name="Dmitriy Shumekov" userId="ffbf198107bbd5ce" providerId="LiveId" clId="{167BE94B-8D3A-4531-9F68-529CDCD9B3C3}" dt="2025-04-16T11:09:01.605" v="5294" actId="20577"/>
          <ac:spMkLst>
            <pc:docMk/>
            <pc:sldMk cId="595619905" sldId="478"/>
            <ac:spMk id="2" creationId="{F0BCA8EE-6975-3413-72D6-B70E3A498B83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595619905" sldId="478"/>
            <ac:spMk id="3" creationId="{5619C419-9A2B-68ED-9BF1-E06C406AFD51}"/>
          </ac:spMkLst>
        </pc:spChg>
      </pc:sldChg>
      <pc:sldChg chg="modSp add mod">
        <pc:chgData name="Dmitriy Shumekov" userId="ffbf198107bbd5ce" providerId="LiveId" clId="{167BE94B-8D3A-4531-9F68-529CDCD9B3C3}" dt="2025-04-16T11:10:05.877" v="5298"/>
        <pc:sldMkLst>
          <pc:docMk/>
          <pc:sldMk cId="4161598786" sldId="479"/>
        </pc:sldMkLst>
        <pc:spChg chg="mod">
          <ac:chgData name="Dmitriy Shumekov" userId="ffbf198107bbd5ce" providerId="LiveId" clId="{167BE94B-8D3A-4531-9F68-529CDCD9B3C3}" dt="2025-04-16T11:09:04.824" v="5296" actId="20577"/>
          <ac:spMkLst>
            <pc:docMk/>
            <pc:sldMk cId="4161598786" sldId="479"/>
            <ac:spMk id="2" creationId="{A6689E36-6D8C-1F6F-EFFE-2604C457DE1C}"/>
          </ac:spMkLst>
        </pc:spChg>
        <pc:spChg chg="mod">
          <ac:chgData name="Dmitriy Shumekov" userId="ffbf198107bbd5ce" providerId="LiveId" clId="{167BE94B-8D3A-4531-9F68-529CDCD9B3C3}" dt="2025-04-16T11:10:05.877" v="5298"/>
          <ac:spMkLst>
            <pc:docMk/>
            <pc:sldMk cId="4161598786" sldId="479"/>
            <ac:spMk id="3" creationId="{F9C7001C-BCF3-5760-0AA5-C97642219654}"/>
          </ac:spMkLst>
        </pc:spChg>
      </pc:sldChg>
      <pc:sldMasterChg chg="modSldLayout">
        <pc:chgData name="Dmitriy Shumekov" userId="ffbf198107bbd5ce" providerId="LiveId" clId="{167BE94B-8D3A-4531-9F68-529CDCD9B3C3}" dt="2025-04-16T11:10:05.877" v="5298"/>
        <pc:sldMasterMkLst>
          <pc:docMk/>
          <pc:sldMasterMk cId="1823869724" sldId="2147483687"/>
        </pc:sldMasterMkLst>
        <pc:sldLayoutChg chg="modSp">
          <pc:chgData name="Dmitriy Shumekov" userId="ffbf198107bbd5ce" providerId="LiveId" clId="{167BE94B-8D3A-4531-9F68-529CDCD9B3C3}" dt="2025-04-16T11:10:05.877" v="5298"/>
          <pc:sldLayoutMkLst>
            <pc:docMk/>
            <pc:sldMasterMk cId="1823869724" sldId="2147483687"/>
            <pc:sldLayoutMk cId="3683977204" sldId="2147483690"/>
          </pc:sldLayoutMkLst>
          <pc:spChg chg="mod">
            <ac:chgData name="Dmitriy Shumekov" userId="ffbf198107bbd5ce" providerId="LiveId" clId="{167BE94B-8D3A-4531-9F68-529CDCD9B3C3}" dt="2025-04-16T11:10:05.877" v="5298"/>
            <ac:spMkLst>
              <pc:docMk/>
              <pc:sldMasterMk cId="1823869724" sldId="2147483687"/>
              <pc:sldLayoutMk cId="3683977204" sldId="2147483690"/>
              <ac:spMk id="18" creationId="{35E13FE2-8363-4B32-997E-7AD8F8C0C9D9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10.02500000000001</c:v>
                </c:pt>
                <c:pt idx="1">
                  <c:v>55.082999999999998</c:v>
                </c:pt>
                <c:pt idx="2">
                  <c:v>240.36799999999999</c:v>
                </c:pt>
                <c:pt idx="3">
                  <c:v>447.77100000000002</c:v>
                </c:pt>
                <c:pt idx="4">
                  <c:v>176.291</c:v>
                </c:pt>
                <c:pt idx="5">
                  <c:v>169.506</c:v>
                </c:pt>
                <c:pt idx="6">
                  <c:v>160.27699999999999</c:v>
                </c:pt>
                <c:pt idx="7">
                  <c:v>91.593000000000004</c:v>
                </c:pt>
                <c:pt idx="8">
                  <c:v>166.196</c:v>
                </c:pt>
                <c:pt idx="9">
                  <c:v>46.606000000000002</c:v>
                </c:pt>
                <c:pt idx="10">
                  <c:v>116.587</c:v>
                </c:pt>
                <c:pt idx="11">
                  <c:v>121.00700000000001</c:v>
                </c:pt>
                <c:pt idx="12">
                  <c:v>251.26599999999999</c:v>
                </c:pt>
                <c:pt idx="13">
                  <c:v>216.84899999999999</c:v>
                </c:pt>
                <c:pt idx="14">
                  <c:v>30.131</c:v>
                </c:pt>
                <c:pt idx="15">
                  <c:v>60.131</c:v>
                </c:pt>
                <c:pt idx="16">
                  <c:v>231.45099999999999</c:v>
                </c:pt>
                <c:pt idx="17">
                  <c:v>64.024000000000001</c:v>
                </c:pt>
                <c:pt idx="18">
                  <c:v>385.73700000000002</c:v>
                </c:pt>
                <c:pt idx="19">
                  <c:v>222.11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593415024441571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41.84700000000001</c:v>
                </c:pt>
                <c:pt idx="1">
                  <c:v>464.01499999999999</c:v>
                </c:pt>
                <c:pt idx="2">
                  <c:v>263.38400000000001</c:v>
                </c:pt>
                <c:pt idx="3">
                  <c:v>134.268</c:v>
                </c:pt>
                <c:pt idx="4">
                  <c:v>35.795999999999999</c:v>
                </c:pt>
                <c:pt idx="5">
                  <c:v>173.64</c:v>
                </c:pt>
                <c:pt idx="6">
                  <c:v>96.915999999999997</c:v>
                </c:pt>
                <c:pt idx="7">
                  <c:v>138.96700000000001</c:v>
                </c:pt>
                <c:pt idx="8">
                  <c:v>109.56100000000001</c:v>
                </c:pt>
                <c:pt idx="9">
                  <c:v>95.605999999999995</c:v>
                </c:pt>
                <c:pt idx="10">
                  <c:v>147.56100000000001</c:v>
                </c:pt>
                <c:pt idx="11">
                  <c:v>191.66300000000001</c:v>
                </c:pt>
                <c:pt idx="12">
                  <c:v>87.864000000000004</c:v>
                </c:pt>
                <c:pt idx="13">
                  <c:v>138.37299999999999</c:v>
                </c:pt>
                <c:pt idx="14">
                  <c:v>113.108</c:v>
                </c:pt>
                <c:pt idx="15">
                  <c:v>116.21599999999999</c:v>
                </c:pt>
                <c:pt idx="16">
                  <c:v>172.03899999999999</c:v>
                </c:pt>
                <c:pt idx="17">
                  <c:v>143.364</c:v>
                </c:pt>
                <c:pt idx="18">
                  <c:v>125.538</c:v>
                </c:pt>
                <c:pt idx="19">
                  <c:v>87.552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83.60599999999999</c:v>
                </c:pt>
                <c:pt idx="1">
                  <c:v>583.12300000000005</c:v>
                </c:pt>
                <c:pt idx="2">
                  <c:v>342.88</c:v>
                </c:pt>
                <c:pt idx="3">
                  <c:v>169.23</c:v>
                </c:pt>
                <c:pt idx="4">
                  <c:v>43.420999999999999</c:v>
                </c:pt>
                <c:pt idx="5">
                  <c:v>234.584</c:v>
                </c:pt>
                <c:pt idx="6">
                  <c:v>126.328</c:v>
                </c:pt>
                <c:pt idx="7">
                  <c:v>177.27699999999999</c:v>
                </c:pt>
                <c:pt idx="8">
                  <c:v>144.86699999999999</c:v>
                </c:pt>
                <c:pt idx="9">
                  <c:v>120.462</c:v>
                </c:pt>
                <c:pt idx="10">
                  <c:v>191.88</c:v>
                </c:pt>
                <c:pt idx="11">
                  <c:v>240.642</c:v>
                </c:pt>
                <c:pt idx="12">
                  <c:v>111.26900000000001</c:v>
                </c:pt>
                <c:pt idx="13">
                  <c:v>183.774</c:v>
                </c:pt>
                <c:pt idx="14">
                  <c:v>144.81399999999999</c:v>
                </c:pt>
                <c:pt idx="15">
                  <c:v>162.28899999999999</c:v>
                </c:pt>
                <c:pt idx="16">
                  <c:v>245.46600000000001</c:v>
                </c:pt>
                <c:pt idx="17">
                  <c:v>185.71299999999999</c:v>
                </c:pt>
                <c:pt idx="18">
                  <c:v>165.011</c:v>
                </c:pt>
                <c:pt idx="19">
                  <c:v>107.76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9906186085409656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01.369</c:v>
                </c:pt>
                <c:pt idx="1">
                  <c:v>336.673</c:v>
                </c:pt>
                <c:pt idx="2">
                  <c:v>188.02799999999999</c:v>
                </c:pt>
                <c:pt idx="3">
                  <c:v>99.707999999999998</c:v>
                </c:pt>
                <c:pt idx="4">
                  <c:v>26.692</c:v>
                </c:pt>
                <c:pt idx="5">
                  <c:v>119.773</c:v>
                </c:pt>
                <c:pt idx="6">
                  <c:v>70.475999999999999</c:v>
                </c:pt>
                <c:pt idx="7">
                  <c:v>100.892</c:v>
                </c:pt>
                <c:pt idx="8">
                  <c:v>73.522999999999996</c:v>
                </c:pt>
                <c:pt idx="9">
                  <c:v>72.27</c:v>
                </c:pt>
                <c:pt idx="10">
                  <c:v>107.197</c:v>
                </c:pt>
                <c:pt idx="11">
                  <c:v>141.785</c:v>
                </c:pt>
                <c:pt idx="12">
                  <c:v>64.903999999999996</c:v>
                </c:pt>
                <c:pt idx="13">
                  <c:v>97.287000000000006</c:v>
                </c:pt>
                <c:pt idx="14">
                  <c:v>83.42</c:v>
                </c:pt>
                <c:pt idx="15">
                  <c:v>76.712999999999994</c:v>
                </c:pt>
                <c:pt idx="16">
                  <c:v>102.937</c:v>
                </c:pt>
                <c:pt idx="17">
                  <c:v>102.63500000000001</c:v>
                </c:pt>
                <c:pt idx="18">
                  <c:v>88.855000000000004</c:v>
                </c:pt>
                <c:pt idx="19">
                  <c:v>67.501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70.01499999999999</c:v>
                </c:pt>
                <c:pt idx="1">
                  <c:v>482.24900000000002</c:v>
                </c:pt>
                <c:pt idx="2">
                  <c:v>588.24599999999998</c:v>
                </c:pt>
                <c:pt idx="3">
                  <c:v>667.52200000000005</c:v>
                </c:pt>
                <c:pt idx="4">
                  <c:v>869.245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83.21899999999999</c:v>
                </c:pt>
                <c:pt idx="1">
                  <c:v>637.68299999999999</c:v>
                </c:pt>
                <c:pt idx="2">
                  <c:v>738.33900000000006</c:v>
                </c:pt>
                <c:pt idx="3">
                  <c:v>895.55499999999995</c:v>
                </c:pt>
                <c:pt idx="4">
                  <c:v>1109.608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66.52800000000002</c:v>
                </c:pt>
                <c:pt idx="1">
                  <c:v>336.291</c:v>
                </c:pt>
                <c:pt idx="2">
                  <c:v>436.57900000000001</c:v>
                </c:pt>
                <c:pt idx="3">
                  <c:v>457.17099999999999</c:v>
                </c:pt>
                <c:pt idx="4">
                  <c:v>626.07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E9-4E80-AEBA-212E7308E9C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E9-4E80-AEBA-212E7308E9C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E9-4E80-AEBA-212E7308E9C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E9-4E80-AEBA-212E7308E9C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316.43799999999999</c:v>
                </c:pt>
                <c:pt idx="1">
                  <c:v>312.27800000000002</c:v>
                </c:pt>
                <c:pt idx="2">
                  <c:v>303.62</c:v>
                </c:pt>
                <c:pt idx="3">
                  <c:v>294.536</c:v>
                </c:pt>
                <c:pt idx="4">
                  <c:v>259.11099999999999</c:v>
                </c:pt>
                <c:pt idx="5">
                  <c:v>248.61600000000001</c:v>
                </c:pt>
                <c:pt idx="6">
                  <c:v>235.36799999999999</c:v>
                </c:pt>
                <c:pt idx="7">
                  <c:v>239.399</c:v>
                </c:pt>
                <c:pt idx="8">
                  <c:v>268.66899999999998</c:v>
                </c:pt>
                <c:pt idx="9">
                  <c:v>259.97699999999998</c:v>
                </c:pt>
                <c:pt idx="10">
                  <c:v>239.26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AB-49FB-B5E4-E19A4CA1422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AB-49FB-B5E4-E19A4CA1422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9AB-49FB-B5E4-E19A4CA1422D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9AB-49FB-B5E4-E19A4CA1422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424.62400000000002</c:v>
                </c:pt>
                <c:pt idx="1">
                  <c:v>413.125</c:v>
                </c:pt>
                <c:pt idx="2">
                  <c:v>398.93099999999998</c:v>
                </c:pt>
                <c:pt idx="3">
                  <c:v>383.74400000000003</c:v>
                </c:pt>
                <c:pt idx="4">
                  <c:v>344.41899999999998</c:v>
                </c:pt>
                <c:pt idx="5">
                  <c:v>336.745</c:v>
                </c:pt>
                <c:pt idx="6">
                  <c:v>315.57100000000003</c:v>
                </c:pt>
                <c:pt idx="7">
                  <c:v>304.44299999999998</c:v>
                </c:pt>
                <c:pt idx="8">
                  <c:v>332.36</c:v>
                </c:pt>
                <c:pt idx="9">
                  <c:v>329.06</c:v>
                </c:pt>
                <c:pt idx="10">
                  <c:v>281.382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DA-46C6-BCA9-837047BDD5B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DA-46C6-BCA9-837047BDD5B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DA-46C6-BCA9-837047BDD5B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DDA-46C6-BCA9-837047BDD5B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208.23500000000001</c:v>
                </c:pt>
                <c:pt idx="1">
                  <c:v>208.30699999999999</c:v>
                </c:pt>
                <c:pt idx="2">
                  <c:v>202.65299999999999</c:v>
                </c:pt>
                <c:pt idx="3">
                  <c:v>197.3</c:v>
                </c:pt>
                <c:pt idx="4">
                  <c:v>163.89599999999999</c:v>
                </c:pt>
                <c:pt idx="5">
                  <c:v>166.625</c:v>
                </c:pt>
                <c:pt idx="6">
                  <c:v>163.994</c:v>
                </c:pt>
                <c:pt idx="7">
                  <c:v>166.654</c:v>
                </c:pt>
                <c:pt idx="8">
                  <c:v>207.005</c:v>
                </c:pt>
                <c:pt idx="9">
                  <c:v>216.80500000000001</c:v>
                </c:pt>
                <c:pt idx="10">
                  <c:v>221.16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13069005929392E-3"/>
          <c:y val="3.2983828251080531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F3E-4849-8E8F-8C923845325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F3E-4849-8E8F-8C923845325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F3E-4849-8E8F-8C923845325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66.23700000000002</c:v>
                </c:pt>
                <c:pt idx="1">
                  <c:v>364.70699999999999</c:v>
                </c:pt>
                <c:pt idx="2">
                  <c:v>279.33199999999999</c:v>
                </c:pt>
                <c:pt idx="3">
                  <c:v>38.357999999999997</c:v>
                </c:pt>
                <c:pt idx="4">
                  <c:v>361.35399999999998</c:v>
                </c:pt>
                <c:pt idx="5">
                  <c:v>134.542</c:v>
                </c:pt>
                <c:pt idx="6">
                  <c:v>327.661</c:v>
                </c:pt>
                <c:pt idx="7">
                  <c:v>592.005</c:v>
                </c:pt>
                <c:pt idx="8">
                  <c:v>413.081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8.71100000000001</c:v>
                </c:pt>
                <c:pt idx="1">
                  <c:v>74.989000000000004</c:v>
                </c:pt>
                <c:pt idx="2">
                  <c:v>253.417</c:v>
                </c:pt>
                <c:pt idx="3">
                  <c:v>471.40199999999999</c:v>
                </c:pt>
                <c:pt idx="4">
                  <c:v>200.80799999999999</c:v>
                </c:pt>
                <c:pt idx="5">
                  <c:v>207.27199999999999</c:v>
                </c:pt>
                <c:pt idx="6">
                  <c:v>206.84299999999999</c:v>
                </c:pt>
                <c:pt idx="7">
                  <c:v>112.28700000000001</c:v>
                </c:pt>
                <c:pt idx="8">
                  <c:v>228.94800000000001</c:v>
                </c:pt>
                <c:pt idx="9">
                  <c:v>67.629000000000005</c:v>
                </c:pt>
                <c:pt idx="10">
                  <c:v>142.92699999999999</c:v>
                </c:pt>
                <c:pt idx="11">
                  <c:v>140.928</c:v>
                </c:pt>
                <c:pt idx="12">
                  <c:v>307.839</c:v>
                </c:pt>
                <c:pt idx="13">
                  <c:v>413.67500000000001</c:v>
                </c:pt>
                <c:pt idx="14">
                  <c:v>34.392000000000003</c:v>
                </c:pt>
                <c:pt idx="15">
                  <c:v>71.052999999999997</c:v>
                </c:pt>
                <c:pt idx="16">
                  <c:v>273.80500000000001</c:v>
                </c:pt>
                <c:pt idx="17">
                  <c:v>75.384</c:v>
                </c:pt>
                <c:pt idx="18">
                  <c:v>454.63400000000001</c:v>
                </c:pt>
                <c:pt idx="19">
                  <c:v>402.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0475285815856343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CC-4FFB-B4A3-79C55971C87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CC-4FFB-B4A3-79C55971C877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CCC-4FFB-B4A3-79C55971C87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21.89300000000003</c:v>
                </c:pt>
                <c:pt idx="1">
                  <c:v>473.23399999999998</c:v>
                </c:pt>
                <c:pt idx="2">
                  <c:v>374.79599999999999</c:v>
                </c:pt>
                <c:pt idx="3">
                  <c:v>66.319000000000003</c:v>
                </c:pt>
                <c:pt idx="4">
                  <c:v>443.49</c:v>
                </c:pt>
                <c:pt idx="5">
                  <c:v>182.55600000000001</c:v>
                </c:pt>
                <c:pt idx="6">
                  <c:v>410.851</c:v>
                </c:pt>
                <c:pt idx="7">
                  <c:v>739.83900000000006</c:v>
                </c:pt>
                <c:pt idx="8">
                  <c:v>551.427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E5-46B4-9C28-74D78A976CD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E5-46B4-9C28-74D78A976CD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E5-46B4-9C28-74D78A976CD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31.15899999999999</c:v>
                </c:pt>
                <c:pt idx="1">
                  <c:v>267.52100000000002</c:v>
                </c:pt>
                <c:pt idx="2">
                  <c:v>195.649</c:v>
                </c:pt>
                <c:pt idx="3">
                  <c:v>16.763000000000002</c:v>
                </c:pt>
                <c:pt idx="4">
                  <c:v>275.66000000000003</c:v>
                </c:pt>
                <c:pt idx="5">
                  <c:v>77.108000000000004</c:v>
                </c:pt>
                <c:pt idx="6">
                  <c:v>240.62200000000001</c:v>
                </c:pt>
                <c:pt idx="7">
                  <c:v>435.43700000000001</c:v>
                </c:pt>
                <c:pt idx="8">
                  <c:v>282.72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8768128902208"/>
          <c:y val="3.2983882222703563E-2"/>
          <c:w val="0.86214015439357794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E8-43C3-AD33-C548DF2BF6E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E8-43C3-AD33-C548DF2BF6ED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E8-43C3-AD33-C548DF2BF6E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E8-43C3-AD33-C548DF2BF6E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  <c:pt idx="0">
                  <c:v>2035</c:v>
                </c:pt>
                <c:pt idx="1">
                  <c:v>2034</c:v>
                </c:pt>
                <c:pt idx="2">
                  <c:v>2033</c:v>
                </c:pt>
                <c:pt idx="3">
                  <c:v>2032</c:v>
                </c:pt>
                <c:pt idx="4">
                  <c:v>2031</c:v>
                </c:pt>
                <c:pt idx="5">
                  <c:v>2030</c:v>
                </c:pt>
                <c:pt idx="6">
                  <c:v>2029</c:v>
                </c:pt>
                <c:pt idx="7">
                  <c:v>2028</c:v>
                </c:pt>
                <c:pt idx="8">
                  <c:v>2027</c:v>
                </c:pt>
                <c:pt idx="9">
                  <c:v>2026</c:v>
                </c:pt>
                <c:pt idx="10">
                  <c:v>2025</c:v>
                </c:pt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148.06399999999999</c:v>
                </c:pt>
                <c:pt idx="1">
                  <c:v>148.95599999999999</c:v>
                </c:pt>
                <c:pt idx="2">
                  <c:v>143.923</c:v>
                </c:pt>
                <c:pt idx="3">
                  <c:v>139.15700000000001</c:v>
                </c:pt>
                <c:pt idx="4">
                  <c:v>106.105</c:v>
                </c:pt>
                <c:pt idx="5">
                  <c:v>108.348</c:v>
                </c:pt>
                <c:pt idx="6">
                  <c:v>105.342</c:v>
                </c:pt>
                <c:pt idx="7">
                  <c:v>106.636</c:v>
                </c:pt>
                <c:pt idx="8">
                  <c:v>137.834</c:v>
                </c:pt>
                <c:pt idx="9">
                  <c:v>138.00800000000001</c:v>
                </c:pt>
                <c:pt idx="10">
                  <c:v>135.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E8-43C3-AD33-C548DF2BF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A112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A112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5172855923862"/>
          <c:y val="8.3776083346084371E-2"/>
          <c:w val="0.55496542881522781"/>
          <c:h val="0.8324478333078313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E9-4922-9147-05FE9DF0C11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E9-4922-9147-05FE9DF0C11F}"/>
              </c:ext>
            </c:extLst>
          </c:dPt>
          <c:dLbls>
            <c:dLbl>
              <c:idx val="0"/>
              <c:layout>
                <c:manualLayout>
                  <c:x val="-0.40777133130706328"/>
                  <c:y val="-0.2326003991730617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E9-4922-9147-05FE9DF0C11F}"/>
                </c:ext>
              </c:extLst>
            </c:dLbl>
            <c:dLbl>
              <c:idx val="1"/>
              <c:layout>
                <c:manualLayout>
                  <c:x val="0.13640093341454301"/>
                  <c:y val="0.225508766952848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E9-4922-9147-05FE9DF0C1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енсионный </c:v>
                </c:pt>
                <c:pt idx="1">
                  <c:v>смертност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06</c:v>
                </c:pt>
                <c:pt idx="1">
                  <c:v>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E9-4922-9147-05FE9DF0C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CD-4323-AFBD-DA92B955F877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CD-4323-AFBD-DA92B955F877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CD-4323-AFBD-DA92B955F877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CD-4323-AFBD-DA92B955F877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CD-4323-AFBD-DA92B955F87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8.951000000000001</c:v>
                </c:pt>
                <c:pt idx="1">
                  <c:v>32.862000000000002</c:v>
                </c:pt>
                <c:pt idx="2">
                  <c:v>134.24799999999999</c:v>
                </c:pt>
                <c:pt idx="3">
                  <c:v>290.642</c:v>
                </c:pt>
                <c:pt idx="4">
                  <c:v>66.006</c:v>
                </c:pt>
                <c:pt idx="5">
                  <c:v>78.953000000000003</c:v>
                </c:pt>
                <c:pt idx="6">
                  <c:v>36.469000000000001</c:v>
                </c:pt>
                <c:pt idx="7">
                  <c:v>34.064</c:v>
                </c:pt>
                <c:pt idx="8">
                  <c:v>10.106999999999999</c:v>
                </c:pt>
                <c:pt idx="9">
                  <c:v>16.204000000000001</c:v>
                </c:pt>
                <c:pt idx="10">
                  <c:v>28.948</c:v>
                </c:pt>
                <c:pt idx="11">
                  <c:v>98.698999999999998</c:v>
                </c:pt>
                <c:pt idx="12">
                  <c:v>136.74100000000001</c:v>
                </c:pt>
                <c:pt idx="13">
                  <c:v>84.325999999999993</c:v>
                </c:pt>
                <c:pt idx="14">
                  <c:v>22.425999999999998</c:v>
                </c:pt>
                <c:pt idx="15">
                  <c:v>37.966000000000001</c:v>
                </c:pt>
                <c:pt idx="16">
                  <c:v>143.47499999999999</c:v>
                </c:pt>
                <c:pt idx="17">
                  <c:v>49.040999999999997</c:v>
                </c:pt>
                <c:pt idx="18">
                  <c:v>252.90799999999999</c:v>
                </c:pt>
                <c:pt idx="19">
                  <c:v>87.804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4CD-4323-AFBD-DA92B955F8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0C-4103-A903-795D323F5EE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61.813000000000002</c:v>
                </c:pt>
                <c:pt idx="1">
                  <c:v>490.89600000000002</c:v>
                </c:pt>
                <c:pt idx="2">
                  <c:v>175.797</c:v>
                </c:pt>
                <c:pt idx="3">
                  <c:v>264.38799999999998</c:v>
                </c:pt>
                <c:pt idx="4">
                  <c:v>84.325999999999993</c:v>
                </c:pt>
                <c:pt idx="5">
                  <c:v>252.90799999999999</c:v>
                </c:pt>
                <c:pt idx="6">
                  <c:v>87.804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0C-4103-A903-795D323F5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2.89400000000001</c:v>
                </c:pt>
                <c:pt idx="1">
                  <c:v>425.03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4D-4D97-B97D-E5DBBF103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3937709913133E-2"/>
          <c:w val="0.91593415024441571"/>
          <c:h val="0.949518147764354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E3-4BA3-ACDD-176F386B0CEE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AE3-4BA3-ACDD-176F386B0CEE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AE3-4BA3-ACDD-176F386B0CEE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E3-4BA3-ACDD-176F386B0CEE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AE3-4BA3-ACDD-176F386B0CE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4.441000000000003</c:v>
                </c:pt>
                <c:pt idx="1">
                  <c:v>218.947</c:v>
                </c:pt>
                <c:pt idx="2">
                  <c:v>120.01</c:v>
                </c:pt>
                <c:pt idx="3">
                  <c:v>71.113</c:v>
                </c:pt>
                <c:pt idx="4">
                  <c:v>19.608000000000001</c:v>
                </c:pt>
                <c:pt idx="5">
                  <c:v>78.753</c:v>
                </c:pt>
                <c:pt idx="6">
                  <c:v>53.2</c:v>
                </c:pt>
                <c:pt idx="7">
                  <c:v>73.277000000000001</c:v>
                </c:pt>
                <c:pt idx="8">
                  <c:v>42.100999999999999</c:v>
                </c:pt>
                <c:pt idx="9">
                  <c:v>50.091000000000001</c:v>
                </c:pt>
                <c:pt idx="10">
                  <c:v>81.575000000000003</c:v>
                </c:pt>
                <c:pt idx="11">
                  <c:v>100.456</c:v>
                </c:pt>
                <c:pt idx="12">
                  <c:v>41.265000000000001</c:v>
                </c:pt>
                <c:pt idx="13">
                  <c:v>63.402999999999999</c:v>
                </c:pt>
                <c:pt idx="14">
                  <c:v>58.622999999999998</c:v>
                </c:pt>
                <c:pt idx="15">
                  <c:v>46.421999999999997</c:v>
                </c:pt>
                <c:pt idx="16">
                  <c:v>53.75</c:v>
                </c:pt>
                <c:pt idx="17">
                  <c:v>69.134</c:v>
                </c:pt>
                <c:pt idx="18">
                  <c:v>63.317</c:v>
                </c:pt>
                <c:pt idx="19">
                  <c:v>48.445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E3-4BA3-ACDD-176F386B0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8-4FBC-9F26-24E52F6D5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98.09200000000001</c:v>
                </c:pt>
                <c:pt idx="1">
                  <c:v>216.28</c:v>
                </c:pt>
                <c:pt idx="2">
                  <c:v>312.89999999999998</c:v>
                </c:pt>
                <c:pt idx="3">
                  <c:v>287.262</c:v>
                </c:pt>
                <c:pt idx="4">
                  <c:v>403.398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98-4FBC-9F26-24E52F6D5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87.653000000000006</c:v>
                </c:pt>
                <c:pt idx="1">
                  <c:v>41.415999999999997</c:v>
                </c:pt>
                <c:pt idx="2">
                  <c:v>223.25899999999999</c:v>
                </c:pt>
                <c:pt idx="3">
                  <c:v>367.97899999999998</c:v>
                </c:pt>
                <c:pt idx="4">
                  <c:v>141.059</c:v>
                </c:pt>
                <c:pt idx="5">
                  <c:v>145.84299999999999</c:v>
                </c:pt>
                <c:pt idx="6">
                  <c:v>148.70699999999999</c:v>
                </c:pt>
                <c:pt idx="7">
                  <c:v>65.965999999999994</c:v>
                </c:pt>
                <c:pt idx="8">
                  <c:v>163.744</c:v>
                </c:pt>
                <c:pt idx="9">
                  <c:v>43.137</c:v>
                </c:pt>
                <c:pt idx="10">
                  <c:v>84.412000000000006</c:v>
                </c:pt>
                <c:pt idx="11">
                  <c:v>112.664</c:v>
                </c:pt>
                <c:pt idx="12">
                  <c:v>208.68799999999999</c:v>
                </c:pt>
                <c:pt idx="13">
                  <c:v>183.67</c:v>
                </c:pt>
                <c:pt idx="14">
                  <c:v>24.173999999999999</c:v>
                </c:pt>
                <c:pt idx="15">
                  <c:v>54.537999999999997</c:v>
                </c:pt>
                <c:pt idx="16">
                  <c:v>201.72</c:v>
                </c:pt>
                <c:pt idx="17">
                  <c:v>60.875999999999998</c:v>
                </c:pt>
                <c:pt idx="18">
                  <c:v>341.30799999999999</c:v>
                </c:pt>
                <c:pt idx="19">
                  <c:v>151.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55.517000000000003</c:v>
                </c:pt>
                <c:pt idx="1">
                  <c:v>38.466000000000001</c:v>
                </c:pt>
                <c:pt idx="2">
                  <c:v>223.863</c:v>
                </c:pt>
                <c:pt idx="3">
                  <c:v>417.90699999999998</c:v>
                </c:pt>
                <c:pt idx="4">
                  <c:v>145.93100000000001</c:v>
                </c:pt>
                <c:pt idx="5">
                  <c:v>124.151</c:v>
                </c:pt>
                <c:pt idx="6">
                  <c:v>107.389</c:v>
                </c:pt>
                <c:pt idx="7">
                  <c:v>65.837000000000003</c:v>
                </c:pt>
                <c:pt idx="8">
                  <c:v>65.183000000000007</c:v>
                </c:pt>
                <c:pt idx="9">
                  <c:v>26.914000000000001</c:v>
                </c:pt>
                <c:pt idx="10">
                  <c:v>85.475999999999999</c:v>
                </c:pt>
                <c:pt idx="11">
                  <c:v>104.11799999999999</c:v>
                </c:pt>
                <c:pt idx="12">
                  <c:v>187.755</c:v>
                </c:pt>
                <c:pt idx="13">
                  <c:v>100.33799999999999</c:v>
                </c:pt>
                <c:pt idx="14">
                  <c:v>24.08</c:v>
                </c:pt>
                <c:pt idx="15">
                  <c:v>45.087000000000003</c:v>
                </c:pt>
                <c:pt idx="16">
                  <c:v>164.548</c:v>
                </c:pt>
                <c:pt idx="17">
                  <c:v>52.948</c:v>
                </c:pt>
                <c:pt idx="18">
                  <c:v>286.66300000000001</c:v>
                </c:pt>
                <c:pt idx="19">
                  <c:v>87.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43.065</c:v>
                </c:pt>
                <c:pt idx="1">
                  <c:v>57.792999999999999</c:v>
                </c:pt>
                <c:pt idx="2">
                  <c:v>235.63900000000001</c:v>
                </c:pt>
                <c:pt idx="3">
                  <c:v>388.54899999999998</c:v>
                </c:pt>
                <c:pt idx="4">
                  <c:v>161.30699999999999</c:v>
                </c:pt>
                <c:pt idx="5">
                  <c:v>178.40899999999999</c:v>
                </c:pt>
                <c:pt idx="6">
                  <c:v>191.97300000000001</c:v>
                </c:pt>
                <c:pt idx="7">
                  <c:v>81.144999999999996</c:v>
                </c:pt>
                <c:pt idx="8">
                  <c:v>225.62100000000001</c:v>
                </c:pt>
                <c:pt idx="9">
                  <c:v>62.518999999999998</c:v>
                </c:pt>
                <c:pt idx="10">
                  <c:v>104.02500000000001</c:v>
                </c:pt>
                <c:pt idx="11">
                  <c:v>131.21299999999999</c:v>
                </c:pt>
                <c:pt idx="12">
                  <c:v>256.27999999999997</c:v>
                </c:pt>
                <c:pt idx="13">
                  <c:v>349.19499999999999</c:v>
                </c:pt>
                <c:pt idx="14">
                  <c:v>27.623000000000001</c:v>
                </c:pt>
                <c:pt idx="15">
                  <c:v>64.518000000000001</c:v>
                </c:pt>
                <c:pt idx="16">
                  <c:v>238.934</c:v>
                </c:pt>
                <c:pt idx="17">
                  <c:v>71.652000000000001</c:v>
                </c:pt>
                <c:pt idx="18">
                  <c:v>402.72699999999998</c:v>
                </c:pt>
                <c:pt idx="19">
                  <c:v>273.052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43.341999999999999</c:v>
                </c:pt>
                <c:pt idx="1">
                  <c:v>27.582000000000001</c:v>
                </c:pt>
                <c:pt idx="2">
                  <c:v>207.59899999999999</c:v>
                </c:pt>
                <c:pt idx="3">
                  <c:v>341.86</c:v>
                </c:pt>
                <c:pt idx="4">
                  <c:v>115.986</c:v>
                </c:pt>
                <c:pt idx="5">
                  <c:v>106.739</c:v>
                </c:pt>
                <c:pt idx="6">
                  <c:v>99.566999999999993</c:v>
                </c:pt>
                <c:pt idx="7">
                  <c:v>47.113999999999997</c:v>
                </c:pt>
                <c:pt idx="8">
                  <c:v>64.049000000000007</c:v>
                </c:pt>
                <c:pt idx="9">
                  <c:v>24.957000000000001</c:v>
                </c:pt>
                <c:pt idx="10">
                  <c:v>61.241999999999997</c:v>
                </c:pt>
                <c:pt idx="11">
                  <c:v>97.039000000000001</c:v>
                </c:pt>
                <c:pt idx="12">
                  <c:v>155.06</c:v>
                </c:pt>
                <c:pt idx="13">
                  <c:v>85.673000000000002</c:v>
                </c:pt>
                <c:pt idx="14">
                  <c:v>19.166</c:v>
                </c:pt>
                <c:pt idx="15">
                  <c:v>40.79</c:v>
                </c:pt>
                <c:pt idx="16">
                  <c:v>142.94900000000001</c:v>
                </c:pt>
                <c:pt idx="17">
                  <c:v>50.393999999999998</c:v>
                </c:pt>
                <c:pt idx="18">
                  <c:v>253.29900000000001</c:v>
                </c:pt>
                <c:pt idx="19">
                  <c:v>60.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29.06899999999999</c:v>
                </c:pt>
                <c:pt idx="1">
                  <c:v>732.29700000000003</c:v>
                </c:pt>
                <c:pt idx="2">
                  <c:v>567.39700000000005</c:v>
                </c:pt>
                <c:pt idx="3">
                  <c:v>405.76400000000001</c:v>
                </c:pt>
                <c:pt idx="4">
                  <c:v>183.67</c:v>
                </c:pt>
                <c:pt idx="5">
                  <c:v>341.30799999999999</c:v>
                </c:pt>
                <c:pt idx="6">
                  <c:v>151.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.858</c:v>
                </c:pt>
                <c:pt idx="1">
                  <c:v>785.495</c:v>
                </c:pt>
                <c:pt idx="2">
                  <c:v>739.66700000000003</c:v>
                </c:pt>
                <c:pt idx="3">
                  <c:v>491.51799999999997</c:v>
                </c:pt>
                <c:pt idx="4">
                  <c:v>349.19499999999999</c:v>
                </c:pt>
                <c:pt idx="5">
                  <c:v>402.72699999999998</c:v>
                </c:pt>
                <c:pt idx="6">
                  <c:v>273.052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70.924000000000007</c:v>
                </c:pt>
                <c:pt idx="1">
                  <c:v>665.44500000000005</c:v>
                </c:pt>
                <c:pt idx="2">
                  <c:v>342.42599999999999</c:v>
                </c:pt>
                <c:pt idx="3">
                  <c:v>313.34100000000001</c:v>
                </c:pt>
                <c:pt idx="4">
                  <c:v>85.673000000000002</c:v>
                </c:pt>
                <c:pt idx="5">
                  <c:v>253.29900000000001</c:v>
                </c:pt>
                <c:pt idx="6">
                  <c:v>60.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34.527</c:v>
                </c:pt>
                <c:pt idx="1">
                  <c:v>676.51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17.538</c:v>
                </c:pt>
                <c:pt idx="1">
                  <c:v>1024.97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92.136</c:v>
                </c:pt>
                <c:pt idx="1">
                  <c:v>399.343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593415024441571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21.416</c:v>
                </c:pt>
                <c:pt idx="1">
                  <c:v>403.68400000000003</c:v>
                </c:pt>
                <c:pt idx="2">
                  <c:v>220.916</c:v>
                </c:pt>
                <c:pt idx="3">
                  <c:v>112.82899999999999</c:v>
                </c:pt>
                <c:pt idx="4">
                  <c:v>31.292000000000002</c:v>
                </c:pt>
                <c:pt idx="5">
                  <c:v>139.285</c:v>
                </c:pt>
                <c:pt idx="6">
                  <c:v>76.004000000000005</c:v>
                </c:pt>
                <c:pt idx="7">
                  <c:v>117.81</c:v>
                </c:pt>
                <c:pt idx="8">
                  <c:v>97.031999999999996</c:v>
                </c:pt>
                <c:pt idx="9">
                  <c:v>81.046999999999997</c:v>
                </c:pt>
                <c:pt idx="10">
                  <c:v>123.953</c:v>
                </c:pt>
                <c:pt idx="11">
                  <c:v>169.577</c:v>
                </c:pt>
                <c:pt idx="12">
                  <c:v>71.682000000000002</c:v>
                </c:pt>
                <c:pt idx="13">
                  <c:v>112.224</c:v>
                </c:pt>
                <c:pt idx="14">
                  <c:v>94.402000000000001</c:v>
                </c:pt>
                <c:pt idx="15">
                  <c:v>100.655</c:v>
                </c:pt>
                <c:pt idx="16">
                  <c:v>136.93</c:v>
                </c:pt>
                <c:pt idx="17">
                  <c:v>123.605</c:v>
                </c:pt>
                <c:pt idx="18">
                  <c:v>104.122</c:v>
                </c:pt>
                <c:pt idx="19">
                  <c:v>72.575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56.53</c:v>
                </c:pt>
                <c:pt idx="1">
                  <c:v>506.08499999999998</c:v>
                </c:pt>
                <c:pt idx="2">
                  <c:v>283.10000000000002</c:v>
                </c:pt>
                <c:pt idx="3">
                  <c:v>142.51900000000001</c:v>
                </c:pt>
                <c:pt idx="4">
                  <c:v>38.106999999999999</c:v>
                </c:pt>
                <c:pt idx="5">
                  <c:v>186.45500000000001</c:v>
                </c:pt>
                <c:pt idx="6">
                  <c:v>96.331999999999994</c:v>
                </c:pt>
                <c:pt idx="7">
                  <c:v>150.096</c:v>
                </c:pt>
                <c:pt idx="8">
                  <c:v>127.998</c:v>
                </c:pt>
                <c:pt idx="9">
                  <c:v>102.008</c:v>
                </c:pt>
                <c:pt idx="10">
                  <c:v>161.58099999999999</c:v>
                </c:pt>
                <c:pt idx="11">
                  <c:v>213.98699999999999</c:v>
                </c:pt>
                <c:pt idx="12">
                  <c:v>90.713999999999999</c:v>
                </c:pt>
                <c:pt idx="13">
                  <c:v>146.85499999999999</c:v>
                </c:pt>
                <c:pt idx="14">
                  <c:v>121.908</c:v>
                </c:pt>
                <c:pt idx="15">
                  <c:v>140.66</c:v>
                </c:pt>
                <c:pt idx="16">
                  <c:v>189.96899999999999</c:v>
                </c:pt>
                <c:pt idx="17">
                  <c:v>160.88200000000001</c:v>
                </c:pt>
                <c:pt idx="18">
                  <c:v>136.89099999999999</c:v>
                </c:pt>
                <c:pt idx="19">
                  <c:v>89.834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65.108</c:v>
                </c:pt>
                <c:pt idx="1">
                  <c:v>864.43</c:v>
                </c:pt>
                <c:pt idx="2">
                  <c:v>634.178</c:v>
                </c:pt>
                <c:pt idx="3">
                  <c:v>488.86</c:v>
                </c:pt>
                <c:pt idx="4">
                  <c:v>216.84899999999999</c:v>
                </c:pt>
                <c:pt idx="5">
                  <c:v>385.73700000000002</c:v>
                </c:pt>
                <c:pt idx="6">
                  <c:v>222.11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9906186085409656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86.771000000000001</c:v>
                </c:pt>
                <c:pt idx="1">
                  <c:v>292.04899999999998</c:v>
                </c:pt>
                <c:pt idx="2">
                  <c:v>160.60499999999999</c:v>
                </c:pt>
                <c:pt idx="3">
                  <c:v>83.287000000000006</c:v>
                </c:pt>
                <c:pt idx="4">
                  <c:v>23.184999999999999</c:v>
                </c:pt>
                <c:pt idx="5">
                  <c:v>96.724000000000004</c:v>
                </c:pt>
                <c:pt idx="6">
                  <c:v>56.932000000000002</c:v>
                </c:pt>
                <c:pt idx="7">
                  <c:v>85.188000000000002</c:v>
                </c:pt>
                <c:pt idx="8">
                  <c:v>64.938999999999993</c:v>
                </c:pt>
                <c:pt idx="9">
                  <c:v>61.088000000000001</c:v>
                </c:pt>
                <c:pt idx="10">
                  <c:v>89.36</c:v>
                </c:pt>
                <c:pt idx="11">
                  <c:v>124.102</c:v>
                </c:pt>
                <c:pt idx="12">
                  <c:v>52.5</c:v>
                </c:pt>
                <c:pt idx="13">
                  <c:v>80.02</c:v>
                </c:pt>
                <c:pt idx="14">
                  <c:v>68.366</c:v>
                </c:pt>
                <c:pt idx="15">
                  <c:v>66.155000000000001</c:v>
                </c:pt>
                <c:pt idx="16">
                  <c:v>84.269000000000005</c:v>
                </c:pt>
                <c:pt idx="17">
                  <c:v>87.497</c:v>
                </c:pt>
                <c:pt idx="18">
                  <c:v>73.221999999999994</c:v>
                </c:pt>
                <c:pt idx="19">
                  <c:v>55.220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04.07900000000001</c:v>
                </c:pt>
                <c:pt idx="1">
                  <c:v>415.69400000000002</c:v>
                </c:pt>
                <c:pt idx="2">
                  <c:v>504.084</c:v>
                </c:pt>
                <c:pt idx="3">
                  <c:v>541.16800000000001</c:v>
                </c:pt>
                <c:pt idx="4">
                  <c:v>746.015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4.80399999999997</c:v>
                </c:pt>
                <c:pt idx="1">
                  <c:v>551.44799999999998</c:v>
                </c:pt>
                <c:pt idx="2">
                  <c:v>634.54399999999998</c:v>
                </c:pt>
                <c:pt idx="3">
                  <c:v>716.00099999999998</c:v>
                </c:pt>
                <c:pt idx="4">
                  <c:v>945.715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9.51400000000001</c:v>
                </c:pt>
                <c:pt idx="1">
                  <c:v>286.95699999999999</c:v>
                </c:pt>
                <c:pt idx="2">
                  <c:v>370.983</c:v>
                </c:pt>
                <c:pt idx="3">
                  <c:v>374.601</c:v>
                </c:pt>
                <c:pt idx="4">
                  <c:v>539.424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8566633407371087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80-43EB-9854-5AF68D80DC7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80-43EB-9854-5AF68D80DC7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80-43EB-9854-5AF68D80DC7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80-43EB-9854-5AF68D80DC7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266.803</c:v>
                </c:pt>
                <c:pt idx="1">
                  <c:v>262.79500000000002</c:v>
                </c:pt>
                <c:pt idx="2">
                  <c:v>255.45099999999999</c:v>
                </c:pt>
                <c:pt idx="3">
                  <c:v>246.77600000000001</c:v>
                </c:pt>
                <c:pt idx="4">
                  <c:v>218.64</c:v>
                </c:pt>
                <c:pt idx="5">
                  <c:v>210.845</c:v>
                </c:pt>
                <c:pt idx="6">
                  <c:v>199.792</c:v>
                </c:pt>
                <c:pt idx="7">
                  <c:v>202.72900000000001</c:v>
                </c:pt>
                <c:pt idx="8">
                  <c:v>227.38200000000001</c:v>
                </c:pt>
                <c:pt idx="9">
                  <c:v>218.53700000000001</c:v>
                </c:pt>
                <c:pt idx="10">
                  <c:v>201.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2F-4FCC-B086-01C2351129A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2F-4FCC-B086-01C2351129A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2F-4FCC-B086-01C2351129A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2F-4FCC-B086-01C2351129A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355.09199999999998</c:v>
                </c:pt>
                <c:pt idx="1">
                  <c:v>345.34699999999998</c:v>
                </c:pt>
                <c:pt idx="2">
                  <c:v>333.3</c:v>
                </c:pt>
                <c:pt idx="3">
                  <c:v>319.76799999999997</c:v>
                </c:pt>
                <c:pt idx="4">
                  <c:v>288.56900000000002</c:v>
                </c:pt>
                <c:pt idx="5">
                  <c:v>281.733</c:v>
                </c:pt>
                <c:pt idx="6">
                  <c:v>264.29399999999998</c:v>
                </c:pt>
                <c:pt idx="7">
                  <c:v>255.56800000000001</c:v>
                </c:pt>
                <c:pt idx="8">
                  <c:v>281.99799999999999</c:v>
                </c:pt>
                <c:pt idx="9">
                  <c:v>279.41699999999997</c:v>
                </c:pt>
                <c:pt idx="10">
                  <c:v>237.42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94843788506516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4E-4CBE-B289-CD570C287B2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4E-4CBE-B289-CD570C287B2F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4E-4CBE-B289-CD570C287B2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84E-4CBE-B289-CD570C287B2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176.63</c:v>
                </c:pt>
                <c:pt idx="1">
                  <c:v>176.31200000000001</c:v>
                </c:pt>
                <c:pt idx="2">
                  <c:v>171.50299999999999</c:v>
                </c:pt>
                <c:pt idx="3">
                  <c:v>165.96199999999999</c:v>
                </c:pt>
                <c:pt idx="4">
                  <c:v>139.43100000000001</c:v>
                </c:pt>
                <c:pt idx="5">
                  <c:v>141.274</c:v>
                </c:pt>
                <c:pt idx="6">
                  <c:v>138.85599999999999</c:v>
                </c:pt>
                <c:pt idx="7">
                  <c:v>141.101</c:v>
                </c:pt>
                <c:pt idx="8">
                  <c:v>173.357</c:v>
                </c:pt>
                <c:pt idx="9">
                  <c:v>181.34899999999999</c:v>
                </c:pt>
                <c:pt idx="10">
                  <c:v>185.70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8768128902208"/>
          <c:y val="3.2983882222703563E-2"/>
          <c:w val="0.86214015439357794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E8-43C3-AD33-C548DF2BF6E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E8-43C3-AD33-C548DF2BF6ED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E8-43C3-AD33-C548DF2BF6E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E8-43C3-AD33-C548DF2BF6E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  <c:pt idx="0">
                  <c:v>2035</c:v>
                </c:pt>
                <c:pt idx="1">
                  <c:v>2034</c:v>
                </c:pt>
                <c:pt idx="2">
                  <c:v>2033</c:v>
                </c:pt>
                <c:pt idx="3">
                  <c:v>2032</c:v>
                </c:pt>
                <c:pt idx="4">
                  <c:v>2031</c:v>
                </c:pt>
                <c:pt idx="5">
                  <c:v>2030</c:v>
                </c:pt>
                <c:pt idx="6">
                  <c:v>2029</c:v>
                </c:pt>
                <c:pt idx="7">
                  <c:v>2028</c:v>
                </c:pt>
                <c:pt idx="8">
                  <c:v>2027</c:v>
                </c:pt>
                <c:pt idx="9">
                  <c:v>2026</c:v>
                </c:pt>
                <c:pt idx="10">
                  <c:v>2025</c:v>
                </c:pt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124.271</c:v>
                </c:pt>
                <c:pt idx="1">
                  <c:v>124.629</c:v>
                </c:pt>
                <c:pt idx="2">
                  <c:v>120.30500000000001</c:v>
                </c:pt>
                <c:pt idx="3">
                  <c:v>115.38500000000001</c:v>
                </c:pt>
                <c:pt idx="4">
                  <c:v>89.091999999999999</c:v>
                </c:pt>
                <c:pt idx="5">
                  <c:v>90.742000000000004</c:v>
                </c:pt>
                <c:pt idx="6">
                  <c:v>88.063000000000002</c:v>
                </c:pt>
                <c:pt idx="7">
                  <c:v>89.063999999999993</c:v>
                </c:pt>
                <c:pt idx="8">
                  <c:v>113.414</c:v>
                </c:pt>
                <c:pt idx="9">
                  <c:v>113.345</c:v>
                </c:pt>
                <c:pt idx="10">
                  <c:v>111.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E8-43C3-AD33-C548DF2BF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A112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A112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5172855923862"/>
          <c:y val="8.3776083346084371E-2"/>
          <c:w val="0.55496542881522781"/>
          <c:h val="0.8324478333078313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E9-4922-9147-05FE9DF0C11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E9-4922-9147-05FE9DF0C11F}"/>
              </c:ext>
            </c:extLst>
          </c:dPt>
          <c:dLbls>
            <c:dLbl>
              <c:idx val="0"/>
              <c:layout>
                <c:manualLayout>
                  <c:x val="-0.40777133130706328"/>
                  <c:y val="-0.2326003991730617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E9-4922-9147-05FE9DF0C11F}"/>
                </c:ext>
              </c:extLst>
            </c:dLbl>
            <c:dLbl>
              <c:idx val="1"/>
              <c:layout>
                <c:manualLayout>
                  <c:x val="0.13640093341454301"/>
                  <c:y val="0.225508766952848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E9-4922-9147-05FE9DF0C1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енсионный </c:v>
                </c:pt>
                <c:pt idx="1">
                  <c:v>смертност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16</c:v>
                </c:pt>
                <c:pt idx="1">
                  <c:v>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E9-4922-9147-05FE9DF0C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CD-4323-AFBD-DA92B955F877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CD-4323-AFBD-DA92B955F877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CD-4323-AFBD-DA92B955F877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CD-4323-AFBD-DA92B955F877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CD-4323-AFBD-DA92B955F87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2.686</c:v>
                </c:pt>
                <c:pt idx="1">
                  <c:v>23.308</c:v>
                </c:pt>
                <c:pt idx="2">
                  <c:v>122.57299999999999</c:v>
                </c:pt>
                <c:pt idx="3">
                  <c:v>230.60599999999999</c:v>
                </c:pt>
                <c:pt idx="4">
                  <c:v>49.954000000000001</c:v>
                </c:pt>
                <c:pt idx="5">
                  <c:v>67.763000000000005</c:v>
                </c:pt>
                <c:pt idx="6">
                  <c:v>33.694000000000003</c:v>
                </c:pt>
                <c:pt idx="7">
                  <c:v>23.847000000000001</c:v>
                </c:pt>
                <c:pt idx="8">
                  <c:v>9.6929999999999996</c:v>
                </c:pt>
                <c:pt idx="9">
                  <c:v>15.180999999999999</c:v>
                </c:pt>
                <c:pt idx="10">
                  <c:v>19.175999999999998</c:v>
                </c:pt>
                <c:pt idx="11">
                  <c:v>91.799000000000007</c:v>
                </c:pt>
                <c:pt idx="12">
                  <c:v>112.79900000000001</c:v>
                </c:pt>
                <c:pt idx="13">
                  <c:v>72.212000000000003</c:v>
                </c:pt>
                <c:pt idx="14">
                  <c:v>17.977</c:v>
                </c:pt>
                <c:pt idx="15">
                  <c:v>34.253</c:v>
                </c:pt>
                <c:pt idx="16">
                  <c:v>124.423</c:v>
                </c:pt>
                <c:pt idx="17">
                  <c:v>46.62</c:v>
                </c:pt>
                <c:pt idx="18">
                  <c:v>223.273</c:v>
                </c:pt>
                <c:pt idx="19">
                  <c:v>60.826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4CD-4323-AFBD-DA92B955F8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53.7</c:v>
                </c:pt>
                <c:pt idx="1">
                  <c:v>925.62699999999995</c:v>
                </c:pt>
                <c:pt idx="2">
                  <c:v>822.97900000000004</c:v>
                </c:pt>
                <c:pt idx="3">
                  <c:v>591.69399999999996</c:v>
                </c:pt>
                <c:pt idx="4">
                  <c:v>413.67500000000001</c:v>
                </c:pt>
                <c:pt idx="5">
                  <c:v>454.63400000000001</c:v>
                </c:pt>
                <c:pt idx="6">
                  <c:v>402.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0C-4103-A903-795D323F5EE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5.994</c:v>
                </c:pt>
                <c:pt idx="1">
                  <c:v>403.13299999999998</c:v>
                </c:pt>
                <c:pt idx="2">
                  <c:v>150.178</c:v>
                </c:pt>
                <c:pt idx="3">
                  <c:v>223.774</c:v>
                </c:pt>
                <c:pt idx="4">
                  <c:v>72.212000000000003</c:v>
                </c:pt>
                <c:pt idx="5">
                  <c:v>223.273</c:v>
                </c:pt>
                <c:pt idx="6">
                  <c:v>60.826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0C-4103-A903-795D323F5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23.07899999999995</c:v>
                </c:pt>
                <c:pt idx="1">
                  <c:v>356.31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4D-4D97-B97D-E5DBBF103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3937709913133E-2"/>
          <c:w val="0.91593415024441571"/>
          <c:h val="0.949518147764354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E3-4BA3-ACDD-176F386B0CEE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AE3-4BA3-ACDD-176F386B0CEE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AE3-4BA3-ACDD-176F386B0CEE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E3-4BA3-ACDD-176F386B0CEE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AE3-4BA3-ACDD-176F386B0CE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54.667000000000002</c:v>
                </c:pt>
                <c:pt idx="1">
                  <c:v>190.07400000000001</c:v>
                </c:pt>
                <c:pt idx="2">
                  <c:v>104.556</c:v>
                </c:pt>
                <c:pt idx="3">
                  <c:v>58.741</c:v>
                </c:pt>
                <c:pt idx="4">
                  <c:v>16.716000000000001</c:v>
                </c:pt>
                <c:pt idx="5">
                  <c:v>61.432000000000002</c:v>
                </c:pt>
                <c:pt idx="6">
                  <c:v>42.133000000000003</c:v>
                </c:pt>
                <c:pt idx="7">
                  <c:v>61.119</c:v>
                </c:pt>
                <c:pt idx="8">
                  <c:v>36.848999999999997</c:v>
                </c:pt>
                <c:pt idx="9">
                  <c:v>41.682000000000002</c:v>
                </c:pt>
                <c:pt idx="10">
                  <c:v>67.058000000000007</c:v>
                </c:pt>
                <c:pt idx="11">
                  <c:v>86.064999999999998</c:v>
                </c:pt>
                <c:pt idx="12">
                  <c:v>31.78</c:v>
                </c:pt>
                <c:pt idx="13">
                  <c:v>50.648000000000003</c:v>
                </c:pt>
                <c:pt idx="14">
                  <c:v>46.648000000000003</c:v>
                </c:pt>
                <c:pt idx="15">
                  <c:v>39.811</c:v>
                </c:pt>
                <c:pt idx="16">
                  <c:v>41.951999999999998</c:v>
                </c:pt>
                <c:pt idx="17">
                  <c:v>57.86</c:v>
                </c:pt>
                <c:pt idx="18">
                  <c:v>51.072000000000003</c:v>
                </c:pt>
                <c:pt idx="19">
                  <c:v>38.52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E3-4BA3-ACDD-176F386B0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8-4FBC-9F26-24E52F6D5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0.26300000000001</c:v>
                </c:pt>
                <c:pt idx="1">
                  <c:v>181.16800000000001</c:v>
                </c:pt>
                <c:pt idx="2">
                  <c:v>261.16899999999998</c:v>
                </c:pt>
                <c:pt idx="3">
                  <c:v>227.494</c:v>
                </c:pt>
                <c:pt idx="4">
                  <c:v>349.297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98-4FBC-9F26-24E52F6D5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8.757999999999999</c:v>
                </c:pt>
                <c:pt idx="1">
                  <c:v>6.07</c:v>
                </c:pt>
                <c:pt idx="2">
                  <c:v>101.41</c:v>
                </c:pt>
                <c:pt idx="3">
                  <c:v>54.628999999999998</c:v>
                </c:pt>
                <c:pt idx="4">
                  <c:v>15.332000000000001</c:v>
                </c:pt>
                <c:pt idx="5">
                  <c:v>23.222000000000001</c:v>
                </c:pt>
                <c:pt idx="6">
                  <c:v>40.603999999999999</c:v>
                </c:pt>
                <c:pt idx="7">
                  <c:v>15.105</c:v>
                </c:pt>
                <c:pt idx="8">
                  <c:v>1.1240000000000001</c:v>
                </c:pt>
                <c:pt idx="9">
                  <c:v>7.5179999999999998</c:v>
                </c:pt>
                <c:pt idx="10">
                  <c:v>36.598999999999997</c:v>
                </c:pt>
                <c:pt idx="11">
                  <c:v>66.471999999999994</c:v>
                </c:pt>
                <c:pt idx="12">
                  <c:v>38.103999999999999</c:v>
                </c:pt>
                <c:pt idx="13">
                  <c:v>89.147000000000006</c:v>
                </c:pt>
                <c:pt idx="14">
                  <c:v>16.385999999999999</c:v>
                </c:pt>
                <c:pt idx="15">
                  <c:v>35.347000000000001</c:v>
                </c:pt>
                <c:pt idx="16">
                  <c:v>126.81399999999999</c:v>
                </c:pt>
                <c:pt idx="17">
                  <c:v>38.500999999999998</c:v>
                </c:pt>
                <c:pt idx="18">
                  <c:v>217.048</c:v>
                </c:pt>
                <c:pt idx="19">
                  <c:v>81.528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0.869</c:v>
                </c:pt>
                <c:pt idx="1">
                  <c:v>7.9420000000000002</c:v>
                </c:pt>
                <c:pt idx="2">
                  <c:v>107.399</c:v>
                </c:pt>
                <c:pt idx="3">
                  <c:v>57.033000000000001</c:v>
                </c:pt>
                <c:pt idx="4">
                  <c:v>17.154</c:v>
                </c:pt>
                <c:pt idx="5">
                  <c:v>28.684000000000001</c:v>
                </c:pt>
                <c:pt idx="6">
                  <c:v>53.323</c:v>
                </c:pt>
                <c:pt idx="7">
                  <c:v>18.456</c:v>
                </c:pt>
                <c:pt idx="8">
                  <c:v>1.613</c:v>
                </c:pt>
                <c:pt idx="9">
                  <c:v>10.477</c:v>
                </c:pt>
                <c:pt idx="10">
                  <c:v>44.777999999999999</c:v>
                </c:pt>
                <c:pt idx="11">
                  <c:v>77.040000000000006</c:v>
                </c:pt>
                <c:pt idx="12">
                  <c:v>46.582000000000001</c:v>
                </c:pt>
                <c:pt idx="13">
                  <c:v>166.482</c:v>
                </c:pt>
                <c:pt idx="14">
                  <c:v>18.422000000000001</c:v>
                </c:pt>
                <c:pt idx="15">
                  <c:v>41.634</c:v>
                </c:pt>
                <c:pt idx="16">
                  <c:v>149.18199999999999</c:v>
                </c:pt>
                <c:pt idx="17">
                  <c:v>44.353999999999999</c:v>
                </c:pt>
                <c:pt idx="18">
                  <c:v>253.59200000000001</c:v>
                </c:pt>
                <c:pt idx="19">
                  <c:v>146.69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8.6329999999999991</c:v>
                </c:pt>
                <c:pt idx="1">
                  <c:v>4.3</c:v>
                </c:pt>
                <c:pt idx="2">
                  <c:v>93.814999999999998</c:v>
                </c:pt>
                <c:pt idx="3">
                  <c:v>51.671999999999997</c:v>
                </c:pt>
                <c:pt idx="4">
                  <c:v>13.045999999999999</c:v>
                </c:pt>
                <c:pt idx="5">
                  <c:v>16.702999999999999</c:v>
                </c:pt>
                <c:pt idx="6">
                  <c:v>26.167000000000002</c:v>
                </c:pt>
                <c:pt idx="7">
                  <c:v>10.981999999999999</c:v>
                </c:pt>
                <c:pt idx="8">
                  <c:v>0.498</c:v>
                </c:pt>
                <c:pt idx="9">
                  <c:v>4.6369999999999996</c:v>
                </c:pt>
                <c:pt idx="10">
                  <c:v>26.917999999999999</c:v>
                </c:pt>
                <c:pt idx="11">
                  <c:v>57.78</c:v>
                </c:pt>
                <c:pt idx="12">
                  <c:v>27.975000000000001</c:v>
                </c:pt>
                <c:pt idx="13">
                  <c:v>43.392000000000003</c:v>
                </c:pt>
                <c:pt idx="14">
                  <c:v>13.548999999999999</c:v>
                </c:pt>
                <c:pt idx="15">
                  <c:v>26.783999999999999</c:v>
                </c:pt>
                <c:pt idx="16">
                  <c:v>91.549000000000007</c:v>
                </c:pt>
                <c:pt idx="17">
                  <c:v>32.85</c:v>
                </c:pt>
                <c:pt idx="18">
                  <c:v>164.732</c:v>
                </c:pt>
                <c:pt idx="19">
                  <c:v>32.661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4.827999999999999</c:v>
                </c:pt>
                <c:pt idx="1">
                  <c:v>171.37100000000001</c:v>
                </c:pt>
                <c:pt idx="2">
                  <c:v>87.572999999999993</c:v>
                </c:pt>
                <c:pt idx="3">
                  <c:v>141.17500000000001</c:v>
                </c:pt>
                <c:pt idx="4">
                  <c:v>89.147000000000006</c:v>
                </c:pt>
                <c:pt idx="5">
                  <c:v>217.048</c:v>
                </c:pt>
                <c:pt idx="6">
                  <c:v>81.528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8.811</c:v>
                </c:pt>
                <c:pt idx="1">
                  <c:v>181.58600000000001</c:v>
                </c:pt>
                <c:pt idx="2">
                  <c:v>112.553</c:v>
                </c:pt>
                <c:pt idx="3">
                  <c:v>168.4</c:v>
                </c:pt>
                <c:pt idx="4">
                  <c:v>166.482</c:v>
                </c:pt>
                <c:pt idx="5">
                  <c:v>253.59200000000001</c:v>
                </c:pt>
                <c:pt idx="6">
                  <c:v>146.69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2.933</c:v>
                </c:pt>
                <c:pt idx="1">
                  <c:v>158.53299999999999</c:v>
                </c:pt>
                <c:pt idx="2">
                  <c:v>58.987000000000002</c:v>
                </c:pt>
                <c:pt idx="3">
                  <c:v>112.673</c:v>
                </c:pt>
                <c:pt idx="4">
                  <c:v>43.392000000000003</c:v>
                </c:pt>
                <c:pt idx="5">
                  <c:v>164.732</c:v>
                </c:pt>
                <c:pt idx="6">
                  <c:v>32.661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3.983000000000004</c:v>
                </c:pt>
                <c:pt idx="1">
                  <c:v>787.70100000000002</c:v>
                </c:pt>
                <c:pt idx="2">
                  <c:v>389.47399999999999</c:v>
                </c:pt>
                <c:pt idx="3">
                  <c:v>377.34899999999999</c:v>
                </c:pt>
                <c:pt idx="4">
                  <c:v>100.33799999999999</c:v>
                </c:pt>
                <c:pt idx="5">
                  <c:v>286.66300000000001</c:v>
                </c:pt>
                <c:pt idx="6">
                  <c:v>87.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24.947</c:v>
                </c:pt>
                <c:pt idx="1">
                  <c:v>387.723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1.35</c:v>
                </c:pt>
                <c:pt idx="1">
                  <c:v>566.765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43.12599999999998</c:v>
                </c:pt>
                <c:pt idx="1">
                  <c:v>240.7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593415024441571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3.357999999999997</c:v>
                </c:pt>
                <c:pt idx="1">
                  <c:v>100.595</c:v>
                </c:pt>
                <c:pt idx="2">
                  <c:v>63.255000000000003</c:v>
                </c:pt>
                <c:pt idx="3">
                  <c:v>40.115000000000002</c:v>
                </c:pt>
                <c:pt idx="4">
                  <c:v>12.313000000000001</c:v>
                </c:pt>
                <c:pt idx="5">
                  <c:v>47.35</c:v>
                </c:pt>
                <c:pt idx="6">
                  <c:v>26.49</c:v>
                </c:pt>
                <c:pt idx="7">
                  <c:v>49.314999999999998</c:v>
                </c:pt>
                <c:pt idx="8">
                  <c:v>30.972999999999999</c:v>
                </c:pt>
                <c:pt idx="9">
                  <c:v>27.512</c:v>
                </c:pt>
                <c:pt idx="10">
                  <c:v>47.652000000000001</c:v>
                </c:pt>
                <c:pt idx="11">
                  <c:v>57.24</c:v>
                </c:pt>
                <c:pt idx="12">
                  <c:v>22.25</c:v>
                </c:pt>
                <c:pt idx="13">
                  <c:v>38.776000000000003</c:v>
                </c:pt>
                <c:pt idx="14">
                  <c:v>31.177</c:v>
                </c:pt>
                <c:pt idx="15">
                  <c:v>35.463000000000001</c:v>
                </c:pt>
                <c:pt idx="16">
                  <c:v>40.530999999999999</c:v>
                </c:pt>
                <c:pt idx="17">
                  <c:v>45.738999999999997</c:v>
                </c:pt>
                <c:pt idx="18">
                  <c:v>36.963000000000001</c:v>
                </c:pt>
                <c:pt idx="19">
                  <c:v>25.603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42.747</c:v>
                </c:pt>
                <c:pt idx="1">
                  <c:v>128.851</c:v>
                </c:pt>
                <c:pt idx="2">
                  <c:v>82.106999999999999</c:v>
                </c:pt>
                <c:pt idx="3">
                  <c:v>50.921999999999997</c:v>
                </c:pt>
                <c:pt idx="4">
                  <c:v>14.243</c:v>
                </c:pt>
                <c:pt idx="5">
                  <c:v>69.028000000000006</c:v>
                </c:pt>
                <c:pt idx="6">
                  <c:v>34.115000000000002</c:v>
                </c:pt>
                <c:pt idx="7">
                  <c:v>64.834000000000003</c:v>
                </c:pt>
                <c:pt idx="8">
                  <c:v>39.731000000000002</c:v>
                </c:pt>
                <c:pt idx="9">
                  <c:v>34.944000000000003</c:v>
                </c:pt>
                <c:pt idx="10">
                  <c:v>64.887</c:v>
                </c:pt>
                <c:pt idx="11">
                  <c:v>69.451999999999998</c:v>
                </c:pt>
                <c:pt idx="12">
                  <c:v>29.173999999999999</c:v>
                </c:pt>
                <c:pt idx="13">
                  <c:v>51.323</c:v>
                </c:pt>
                <c:pt idx="14">
                  <c:v>39.912999999999997</c:v>
                </c:pt>
                <c:pt idx="15">
                  <c:v>51.551000000000002</c:v>
                </c:pt>
                <c:pt idx="16">
                  <c:v>57.896000000000001</c:v>
                </c:pt>
                <c:pt idx="17">
                  <c:v>60.134999999999998</c:v>
                </c:pt>
                <c:pt idx="18">
                  <c:v>50.268000000000001</c:v>
                </c:pt>
                <c:pt idx="19">
                  <c:v>31.99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9906186085409656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4AC-409B-B5BE-36957C12AEE7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AC-409B-B5BE-36957C12AEE7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4AC-409B-B5BE-36957C12AEE7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5.024000000000001</c:v>
                </c:pt>
                <c:pt idx="1">
                  <c:v>73.825999999999993</c:v>
                </c:pt>
                <c:pt idx="2">
                  <c:v>46.033000000000001</c:v>
                </c:pt>
                <c:pt idx="3">
                  <c:v>29.835999999999999</c:v>
                </c:pt>
                <c:pt idx="4">
                  <c:v>9.9459999999999997</c:v>
                </c:pt>
                <c:pt idx="5">
                  <c:v>29.756</c:v>
                </c:pt>
                <c:pt idx="6">
                  <c:v>19.728999999999999</c:v>
                </c:pt>
                <c:pt idx="7">
                  <c:v>34.472000000000001</c:v>
                </c:pt>
                <c:pt idx="8">
                  <c:v>22.936</c:v>
                </c:pt>
                <c:pt idx="9">
                  <c:v>21.082999999999998</c:v>
                </c:pt>
                <c:pt idx="10">
                  <c:v>32.829000000000001</c:v>
                </c:pt>
                <c:pt idx="11">
                  <c:v>44.975999999999999</c:v>
                </c:pt>
                <c:pt idx="12">
                  <c:v>15.938000000000001</c:v>
                </c:pt>
                <c:pt idx="13">
                  <c:v>27.937000000000001</c:v>
                </c:pt>
                <c:pt idx="14">
                  <c:v>23.495000000000001</c:v>
                </c:pt>
                <c:pt idx="15">
                  <c:v>23.001999999999999</c:v>
                </c:pt>
                <c:pt idx="16">
                  <c:v>24.666</c:v>
                </c:pt>
                <c:pt idx="17">
                  <c:v>33.094999999999999</c:v>
                </c:pt>
                <c:pt idx="18">
                  <c:v>25.384</c:v>
                </c:pt>
                <c:pt idx="19">
                  <c:v>19.949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11.105</c:v>
                </c:pt>
                <c:pt idx="1">
                  <c:v>143.352</c:v>
                </c:pt>
                <c:pt idx="2">
                  <c:v>176.41900000000001</c:v>
                </c:pt>
                <c:pt idx="3">
                  <c:v>184.58600000000001</c:v>
                </c:pt>
                <c:pt idx="4">
                  <c:v>197.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49.27000000000001</c:v>
                </c:pt>
                <c:pt idx="1">
                  <c:v>191.33</c:v>
                </c:pt>
                <c:pt idx="2">
                  <c:v>242.36500000000001</c:v>
                </c:pt>
                <c:pt idx="3">
                  <c:v>231.446</c:v>
                </c:pt>
                <c:pt idx="4">
                  <c:v>253.70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4AC-409B-B5BE-36957C12A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7.941999999999993</c:v>
                </c:pt>
                <c:pt idx="1">
                  <c:v>102.52800000000001</c:v>
                </c:pt>
                <c:pt idx="2">
                  <c:v>119.38</c:v>
                </c:pt>
                <c:pt idx="3">
                  <c:v>139.179</c:v>
                </c:pt>
                <c:pt idx="4">
                  <c:v>144.883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8566633407371087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1F-45BE-A723-424E9F65258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1F-45BE-A723-424E9F65258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91F-45BE-A723-424E9F65258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91F-45BE-A723-424E9F65258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85.656000000000006</c:v>
                </c:pt>
                <c:pt idx="1">
                  <c:v>84.840999999999994</c:v>
                </c:pt>
                <c:pt idx="2">
                  <c:v>82.605000000000004</c:v>
                </c:pt>
                <c:pt idx="3">
                  <c:v>79.715999999999994</c:v>
                </c:pt>
                <c:pt idx="4">
                  <c:v>72.129000000000005</c:v>
                </c:pt>
                <c:pt idx="5">
                  <c:v>68.537999999999997</c:v>
                </c:pt>
                <c:pt idx="6">
                  <c:v>65.626000000000005</c:v>
                </c:pt>
                <c:pt idx="7">
                  <c:v>65.444999999999993</c:v>
                </c:pt>
                <c:pt idx="8">
                  <c:v>69.635000000000005</c:v>
                </c:pt>
                <c:pt idx="9">
                  <c:v>73.253</c:v>
                </c:pt>
                <c:pt idx="10">
                  <c:v>65.22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52.576</c:v>
                </c:pt>
                <c:pt idx="1">
                  <c:v>824.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581148912605385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19-4F73-A268-AA994259356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219-4F73-A268-AA994259356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219-4F73-A268-AA9942593565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219-4F73-A268-AA994259356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115.318</c:v>
                </c:pt>
                <c:pt idx="1">
                  <c:v>112.895</c:v>
                </c:pt>
                <c:pt idx="2">
                  <c:v>109.18</c:v>
                </c:pt>
                <c:pt idx="3">
                  <c:v>104.9</c:v>
                </c:pt>
                <c:pt idx="4">
                  <c:v>96.244</c:v>
                </c:pt>
                <c:pt idx="5">
                  <c:v>94.051000000000002</c:v>
                </c:pt>
                <c:pt idx="6">
                  <c:v>90.192999999999998</c:v>
                </c:pt>
                <c:pt idx="7">
                  <c:v>86.265000000000001</c:v>
                </c:pt>
                <c:pt idx="8">
                  <c:v>90.658000000000001</c:v>
                </c:pt>
                <c:pt idx="9">
                  <c:v>92.546999999999997</c:v>
                </c:pt>
                <c:pt idx="10">
                  <c:v>75.864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94843788506516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75-42B4-AD99-575A5541C49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75-42B4-AD99-575A5541C495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475-42B4-AD99-575A5541C495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475-42B4-AD99-575A5541C49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57.27</c:v>
                </c:pt>
                <c:pt idx="1">
                  <c:v>57.390999999999998</c:v>
                </c:pt>
                <c:pt idx="2">
                  <c:v>55.948999999999998</c:v>
                </c:pt>
                <c:pt idx="3">
                  <c:v>53.734999999999999</c:v>
                </c:pt>
                <c:pt idx="4">
                  <c:v>46.576000000000001</c:v>
                </c:pt>
                <c:pt idx="5">
                  <c:v>46.936</c:v>
                </c:pt>
                <c:pt idx="6">
                  <c:v>46.555999999999997</c:v>
                </c:pt>
                <c:pt idx="7">
                  <c:v>46.627000000000002</c:v>
                </c:pt>
                <c:pt idx="8">
                  <c:v>54.670999999999999</c:v>
                </c:pt>
                <c:pt idx="9">
                  <c:v>57.198999999999998</c:v>
                </c:pt>
                <c:pt idx="10">
                  <c:v>61.002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8768128902208"/>
          <c:y val="3.2983882222703563E-2"/>
          <c:w val="0.86214015439357794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E8-43C3-AD33-C548DF2BF6ED}"/>
              </c:ext>
            </c:extLst>
          </c:dPt>
          <c:dPt>
            <c:idx val="5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E8-43C3-AD33-C548DF2BF6ED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E8-43C3-AD33-C548DF2BF6E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E8-43C3-AD33-C548DF2BF6E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  <c:pt idx="0">
                  <c:v>2035</c:v>
                </c:pt>
                <c:pt idx="1">
                  <c:v>2034</c:v>
                </c:pt>
                <c:pt idx="2">
                  <c:v>2033</c:v>
                </c:pt>
                <c:pt idx="3">
                  <c:v>2032</c:v>
                </c:pt>
                <c:pt idx="4">
                  <c:v>2031</c:v>
                </c:pt>
                <c:pt idx="5">
                  <c:v>2030</c:v>
                </c:pt>
                <c:pt idx="6">
                  <c:v>2029</c:v>
                </c:pt>
                <c:pt idx="7">
                  <c:v>2028</c:v>
                </c:pt>
                <c:pt idx="8">
                  <c:v>2027</c:v>
                </c:pt>
                <c:pt idx="9">
                  <c:v>2026</c:v>
                </c:pt>
                <c:pt idx="10">
                  <c:v>2025</c:v>
                </c:pt>
              </c:numCache>
            </c:num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45.494</c:v>
                </c:pt>
                <c:pt idx="1">
                  <c:v>45.680999999999997</c:v>
                </c:pt>
                <c:pt idx="2">
                  <c:v>44.256999999999998</c:v>
                </c:pt>
                <c:pt idx="3">
                  <c:v>42.13</c:v>
                </c:pt>
                <c:pt idx="4">
                  <c:v>34.847000000000001</c:v>
                </c:pt>
                <c:pt idx="5">
                  <c:v>35.037999999999997</c:v>
                </c:pt>
                <c:pt idx="6">
                  <c:v>34.348999999999997</c:v>
                </c:pt>
                <c:pt idx="7">
                  <c:v>34.237000000000002</c:v>
                </c:pt>
                <c:pt idx="8">
                  <c:v>40.738</c:v>
                </c:pt>
                <c:pt idx="9">
                  <c:v>40.533000000000001</c:v>
                </c:pt>
                <c:pt idx="10">
                  <c:v>39.290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E8-43C3-AD33-C548DF2BF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A112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A112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5172855923862"/>
          <c:y val="8.3776083346084371E-2"/>
          <c:w val="0.55496542881522781"/>
          <c:h val="0.8324478333078313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E9-4922-9147-05FE9DF0C11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E9-4922-9147-05FE9DF0C11F}"/>
              </c:ext>
            </c:extLst>
          </c:dPt>
          <c:dLbls>
            <c:dLbl>
              <c:idx val="0"/>
              <c:layout>
                <c:manualLayout>
                  <c:x val="-0.40777133130706328"/>
                  <c:y val="-0.2326003991730617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E9-4922-9147-05FE9DF0C11F}"/>
                </c:ext>
              </c:extLst>
            </c:dLbl>
            <c:dLbl>
              <c:idx val="1"/>
              <c:layout>
                <c:manualLayout>
                  <c:x val="0.13640093341454301"/>
                  <c:y val="0.225508766952848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E9-4922-9147-05FE9DF0C11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енсионный </c:v>
                </c:pt>
                <c:pt idx="1">
                  <c:v>смертност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40</c:v>
                </c:pt>
                <c:pt idx="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E9-4922-9147-05FE9DF0C1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2983882222703563E-2"/>
          <c:w val="0.9581148912605385"/>
          <c:h val="0.94718133083596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CD-4323-AFBD-DA92B955F877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CD-4323-AFBD-DA92B955F877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4CD-4323-AFBD-DA92B955F877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4CD-4323-AFBD-DA92B955F877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4CD-4323-AFBD-DA92B955F877}"/>
              </c:ext>
            </c:extLst>
          </c:dPt>
          <c:dLbls>
            <c:dLbl>
              <c:idx val="8"/>
              <c:layout>
                <c:manualLayout>
                  <c:x val="-3.7441968108203494E-2"/>
                  <c:y val="-6.7663440673066622E-1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~</a:t>
                    </a:r>
                    <a:fld id="{7082ADF2-9CDD-4CE9-8EA3-7D01CAA6DF6B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3DC-4E58-B95F-AE013D4F8DB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5.1180000000000003</c:v>
                </c:pt>
                <c:pt idx="1">
                  <c:v>4.1310000000000002</c:v>
                </c:pt>
                <c:pt idx="2">
                  <c:v>52.579000000000001</c:v>
                </c:pt>
                <c:pt idx="3">
                  <c:v>38.75</c:v>
                </c:pt>
                <c:pt idx="4">
                  <c:v>7.0739999999999998</c:v>
                </c:pt>
                <c:pt idx="5">
                  <c:v>10.173999999999999</c:v>
                </c:pt>
                <c:pt idx="6">
                  <c:v>6.7910000000000004</c:v>
                </c:pt>
                <c:pt idx="7">
                  <c:v>5.891</c:v>
                </c:pt>
                <c:pt idx="8">
                  <c:v>0.17499999999999999</c:v>
                </c:pt>
                <c:pt idx="9">
                  <c:v>3.3530000000000002</c:v>
                </c:pt>
                <c:pt idx="10">
                  <c:v>9.3659999999999997</c:v>
                </c:pt>
                <c:pt idx="11">
                  <c:v>54.277000000000001</c:v>
                </c:pt>
                <c:pt idx="12">
                  <c:v>22.419</c:v>
                </c:pt>
                <c:pt idx="13">
                  <c:v>37.094000000000001</c:v>
                </c:pt>
                <c:pt idx="14">
                  <c:v>12.609</c:v>
                </c:pt>
                <c:pt idx="15">
                  <c:v>22.722999999999999</c:v>
                </c:pt>
                <c:pt idx="16">
                  <c:v>80.421999999999997</c:v>
                </c:pt>
                <c:pt idx="17">
                  <c:v>30.741</c:v>
                </c:pt>
                <c:pt idx="18">
                  <c:v>146.495</c:v>
                </c:pt>
                <c:pt idx="19">
                  <c:v>32.90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4CD-4323-AFBD-DA92B955F8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0C-4103-A903-795D323F5EE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.2490000000000006</c:v>
                </c:pt>
                <c:pt idx="1">
                  <c:v>98.403000000000006</c:v>
                </c:pt>
                <c:pt idx="2">
                  <c:v>26.384</c:v>
                </c:pt>
                <c:pt idx="3">
                  <c:v>86.061999999999998</c:v>
                </c:pt>
                <c:pt idx="4">
                  <c:v>37.094000000000001</c:v>
                </c:pt>
                <c:pt idx="5">
                  <c:v>146.495</c:v>
                </c:pt>
                <c:pt idx="6">
                  <c:v>32.90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0C-4103-A903-795D323F5E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0.09800000000001</c:v>
                </c:pt>
                <c:pt idx="1">
                  <c:v>216.49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4D-4D97-B97D-E5DBBF103A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  <c:min val="0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3937709913133E-2"/>
          <c:w val="0.91593415024441571"/>
          <c:h val="0.949518147764354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E3-4BA3-ACDD-176F386B0CEE}"/>
              </c:ext>
            </c:extLst>
          </c:dPt>
          <c:dPt>
            <c:idx val="1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AE3-4BA3-ACDD-176F386B0CEE}"/>
              </c:ext>
            </c:extLst>
          </c:dPt>
          <c:dPt>
            <c:idx val="14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AE3-4BA3-ACDD-176F386B0CEE}"/>
              </c:ext>
            </c:extLst>
          </c:dPt>
          <c:dPt>
            <c:idx val="17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E3-4BA3-ACDD-176F386B0CEE}"/>
              </c:ext>
            </c:extLst>
          </c:dPt>
          <c:dPt>
            <c:idx val="18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AE3-4BA3-ACDD-176F386B0CE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21</c:f>
              <c:numCache>
                <c:formatCode>General</c:formatCode>
                <c:ptCount val="20"/>
              </c:numCache>
            </c:num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.992999999999999</c:v>
                </c:pt>
                <c:pt idx="1">
                  <c:v>49.664000000000001</c:v>
                </c:pt>
                <c:pt idx="2">
                  <c:v>29.696999999999999</c:v>
                </c:pt>
                <c:pt idx="3">
                  <c:v>23.3</c:v>
                </c:pt>
                <c:pt idx="4">
                  <c:v>8.67</c:v>
                </c:pt>
                <c:pt idx="5">
                  <c:v>21.466999999999999</c:v>
                </c:pt>
                <c:pt idx="6">
                  <c:v>16.216999999999999</c:v>
                </c:pt>
                <c:pt idx="7">
                  <c:v>27.486999999999998</c:v>
                </c:pt>
                <c:pt idx="8">
                  <c:v>16.981999999999999</c:v>
                </c:pt>
                <c:pt idx="9">
                  <c:v>16.77</c:v>
                </c:pt>
                <c:pt idx="10">
                  <c:v>27.54</c:v>
                </c:pt>
                <c:pt idx="11">
                  <c:v>37.707999999999998</c:v>
                </c:pt>
                <c:pt idx="12">
                  <c:v>11.507999999999999</c:v>
                </c:pt>
                <c:pt idx="13">
                  <c:v>20.234000000000002</c:v>
                </c:pt>
                <c:pt idx="14">
                  <c:v>18.417000000000002</c:v>
                </c:pt>
                <c:pt idx="15">
                  <c:v>16.353999999999999</c:v>
                </c:pt>
                <c:pt idx="16">
                  <c:v>14.289</c:v>
                </c:pt>
                <c:pt idx="17">
                  <c:v>25.48</c:v>
                </c:pt>
                <c:pt idx="18">
                  <c:v>20.378</c:v>
                </c:pt>
                <c:pt idx="19">
                  <c:v>16.4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E3-4BA3-ACDD-176F386B0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2858836728715488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40404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98-4FBC-9F26-24E52F6D5EE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4.135000000000005</c:v>
                </c:pt>
                <c:pt idx="1">
                  <c:v>77.233000000000004</c:v>
                </c:pt>
                <c:pt idx="2">
                  <c:v>113.605</c:v>
                </c:pt>
                <c:pt idx="3">
                  <c:v>84.268000000000001</c:v>
                </c:pt>
                <c:pt idx="4">
                  <c:v>97.35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98-4FBC-9F26-24E52F6D5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91419060300551624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594</c:v>
                </c:pt>
                <c:pt idx="1">
                  <c:v>1270.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902030331833004E-2"/>
          <c:y val="3.6994038535880687E-2"/>
          <c:w val="0.88218957146377719"/>
          <c:h val="0.94317117337077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648.5070000000001</c:v>
                </c:pt>
                <c:pt idx="1">
                  <c:v>474.13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AC-409B-B5BE-36957C12A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extTo"/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3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5AEB0B98-164E-4CA9-8586-E121EE38CD36}" type="datetimeFigureOut">
              <a:rPr lang="ru-RU" smtClean="0"/>
              <a:t>25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3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DBA332FE-0D56-4B98-A320-E45BB9D3F2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703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9099" cy="498932"/>
          </a:xfrm>
          <a:prstGeom prst="rect">
            <a:avLst/>
          </a:prstGeom>
        </p:spPr>
        <p:txBody>
          <a:bodyPr vert="horz" lIns="91852" tIns="45926" rIns="91852" bIns="4592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2"/>
          </a:xfrm>
          <a:prstGeom prst="rect">
            <a:avLst/>
          </a:prstGeom>
        </p:spPr>
        <p:txBody>
          <a:bodyPr vert="horz" lIns="91852" tIns="45926" rIns="91852" bIns="45926" rtlCol="0"/>
          <a:lstStyle>
            <a:lvl1pPr algn="r">
              <a:defRPr sz="1200"/>
            </a:lvl1pPr>
          </a:lstStyle>
          <a:p>
            <a:fld id="{D01E911F-B7A3-4A48-9377-5B09C9E52E95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67413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52" tIns="45926" rIns="91852" bIns="45926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601"/>
            <a:ext cx="5444490" cy="3915488"/>
          </a:xfrm>
          <a:prstGeom prst="rect">
            <a:avLst/>
          </a:prstGeom>
        </p:spPr>
        <p:txBody>
          <a:bodyPr vert="horz" lIns="91852" tIns="45926" rIns="91852" bIns="4592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5171"/>
            <a:ext cx="2949099" cy="498932"/>
          </a:xfrm>
          <a:prstGeom prst="rect">
            <a:avLst/>
          </a:prstGeom>
        </p:spPr>
        <p:txBody>
          <a:bodyPr vert="horz" lIns="91852" tIns="45926" rIns="91852" bIns="4592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8932"/>
          </a:xfrm>
          <a:prstGeom prst="rect">
            <a:avLst/>
          </a:prstGeom>
        </p:spPr>
        <p:txBody>
          <a:bodyPr vert="horz" lIns="91852" tIns="45926" rIns="91852" bIns="45926" rtlCol="0" anchor="b"/>
          <a:lstStyle>
            <a:lvl1pPr algn="r">
              <a:defRPr sz="1200"/>
            </a:lvl1pPr>
          </a:lstStyle>
          <a:p>
            <a:fld id="{19E3A98F-50AD-4B46-943E-262E6AC236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87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340D6-81E4-328E-C55E-35AAE2A2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66AC39A-E1C7-7E02-FDE3-4CDC5F04D4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AA2EE3D-E7B6-5545-81F1-3C04200B7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66F0BF-89F7-9158-BCC6-5D949900BB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22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49AD3-A0B0-150D-F30D-156F5C3453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4B5F2A7-79A2-7EFB-BC30-229E201500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CA69564-78A0-E24A-5C32-021C6664F5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E6B070C-2B50-126C-77B6-AEF596DBB2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161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DC1332-D4FF-90A9-7448-C5BB9889C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2179A5A-1F58-A97B-A97B-8575B0EBCB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0D0F1DE-AF32-81FA-3DAC-1C375729868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CD10C28-F8C4-3FD6-A851-2C481DF529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9223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E4B36-C005-EF22-F69C-14500BD4A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2A97147-C4B2-DB49-8F82-7142C584A1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7F212D0-778D-7962-5D4B-BB461F632C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C966ECA-D957-5B75-2808-A023872E19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0263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11CDA7-DBBE-596D-D055-65A7DB784C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256EC04-BB5D-5BDF-4A6E-F3984DD1B9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1D2F770-9D8F-F1A1-0097-BB760F35E5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F79B754-CE3A-EBE8-F3BF-D3EE9B6563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3831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96B786-BCB1-5EE6-255E-5C4A707D8D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4EA1B5D-9813-FFE1-6145-74B5501AB3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8D6BF3C-D9C7-3BB7-DE35-96CFFF5C27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E3445C5-2866-982C-0C8C-B420F4F8B5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7962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2D584-6CBE-CC07-5378-AF969038A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0EDE9B0-16EC-0CA2-9AB2-D1347BD654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3E62E46-43EE-B98E-1DD1-A5E17A1EDC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5F4D4F2-4A01-001B-7769-0B33C71C4D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0905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445B98-E74F-4EF4-858F-E19557089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39448DE-B3D9-B226-1B48-6A544F531C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ED3F41F-784A-4225-8331-1E4D326781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4B07E15-BF33-48A7-502D-B50741CCFE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6857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ECB7F5-3821-88C4-CFC5-F19E3D3FE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9E387D2-C027-B438-C89F-1F564D6D57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094FA91-939A-1C74-A5E7-DA5C0A86F3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9EF713-466F-ED64-F004-25DE20964E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4141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661190-9227-0FAF-E3D8-99EB6D9C2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500F9A2-031E-F064-0A65-9DD61B9603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A15B949-C74C-4DBB-B7F0-EAC5C02A66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0C36C7B-1ADD-73DC-0AAD-33AEF4355E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9766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578DD0-BCF3-23D2-74C7-3769B94C56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C1F932B-F827-81EE-3BD7-0338214BCE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3EF7631-132C-DDBB-AB61-3B044661EB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C70050A-F631-FCBF-21BF-BD3DF762B0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203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30325-892F-066C-D0FC-8634BBDDC1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3AACC3C-121A-26A7-2355-773E41D36C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C7E562F-F70A-051F-6295-F913BFAF37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7BBDD1B-8E1D-1A19-A74F-2A22BD1451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2850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B1207B-D65B-9849-5FAD-B7316D745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9F75526-278D-7866-1409-7469CA8F27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32114EB-3AD1-3458-5E9F-6975870F1A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39DAFF6-8AC7-AEF7-B40C-63D3CA6DB1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6449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B92CD-FAD7-EAE4-D2F7-52CE965BD9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92A3776-2ABB-F9EF-6184-0F322F7092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23FABF9-43AF-4BB5-478E-260D63AA8D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68E6FCE-5220-E978-DB16-6053C9C617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61163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C38C5-753F-EC44-830D-688278E07C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752AD17-D918-80F5-6252-DA16E7DA79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9B618A6-DDE4-8DC1-947E-99EB39B2E2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B6AD982-9370-F136-5D21-53AF3CD445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1929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A3584-2870-C00A-EFBF-7DA98306A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2378EEF-2353-A553-DFA5-263B93CAD7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B02C407-9FC0-1346-D40A-B865FBE9BA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306011F-A5EC-3B8E-7D56-FABC216AE5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0501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6232F2-5C6D-088A-8311-46A22BB5DC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801BAED-048B-D734-85FE-41F7F0CF7F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59B4B33-1B76-FB5F-289E-3A6C6C1580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EF7F79-77CD-7FDA-82E1-8B998E8C1E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5790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8D5F1D-C9B5-414F-4BBC-5C535CE5B5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5439AD2-959D-E19A-4DF1-6D191F5B02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6A841BD-53D3-6E11-F7F9-2D7E7D0A4A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CF4CE0B-2E6D-A72C-14BB-316EFF4C74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9734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B8D34C-4DB1-C70F-108B-9DE3E4E087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7E42EF6-F5B2-1A28-FA4F-50ADC75E79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B6765A6-15E7-194E-F22F-7767EBDD28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51B40A5-1769-F2B9-D525-32CE0F8E8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0682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D611F-C177-F9C0-008C-8730A707B0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F4DFE26-2A06-5D64-D696-C619B5735E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ABCDA2F2-507C-6C66-0905-48284988B3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62EBA28-3158-7C6C-58E2-9DDA207E92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7698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1D40CB-D17B-7EC9-DA50-7FE73A4432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EE2C9A8-B5E1-D257-F609-E75780E767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C9CFEA3-F6B0-9227-0EBF-F015607BD4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C52C9E-9A16-4014-8762-538A805AF2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2974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EFA8ED-CE91-8B48-6268-E3C183652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D4B534E-5554-FA6B-48AD-EC382C31F5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AE4C18A8-853E-65B1-7533-DCFE4AE094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F0CDE8D-4777-5BF9-7805-D79DEFC7DE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153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8C8CE-EF90-D424-DDEF-C749E05907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CB153A05-82B6-F564-F245-87D5A416C3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EA5EE4F-3111-ACD0-C247-19AF3F2B75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0C0CB7C-986C-0F8E-53B5-3F1F10C024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7972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46EAB-B717-CD98-C890-2942349A4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F3B2E94-B8FF-F96C-7891-879481991B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8FEA132-409F-0555-1122-745DD362D5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60EABFC-1496-8F19-458B-886210B240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267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17326A-2A64-9B31-48A4-B1B8D0856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C978B522-05BD-0706-F185-407C02AA43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FF35583-27B0-0DD5-2367-4BF1E13683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D77356D-16B5-6216-0825-E5EF679AE7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3897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0D52B-7879-2D25-594B-90A2D85797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BA3B6A0-5128-AB01-2672-42B98DA2C3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AA25557-38FD-1E85-E427-B2602ED263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19A08EF-84C7-E693-F6FD-29DF769313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39235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FBC579-4115-7800-8495-05D6E7D0C8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DFDA68B-7546-9B33-00F1-D9D20DE964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164BED2-4D59-91E4-9383-A2AA20C547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0FAA969-E040-43B7-5B2F-3FDC36559F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27351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41065-53AE-E556-99BE-24EAC641F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9C540DA-56BA-FE65-7179-8ED1639BD1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4281E97-8888-002D-DB9F-CDC37D68B9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2B6E829-A1A3-753B-D643-E1C7BD528C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12931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0F77C0-591E-2D1D-5725-5F57575ED8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2D71A2F-638E-5544-12F6-AA6CA2435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FE40489-BD92-B1A0-112B-A5093A0977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6CF57B-EAB6-3238-4BC1-0400EAF2C8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47029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3D437-019D-4837-FD65-8915F19686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95AC570-2621-2C1E-A8ED-D054BF27B9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25542D4-FBBE-1ED7-41B1-B7CA78B616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E29125B-D248-DF2F-05A4-72611418E1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73906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4D09A1-B245-AB44-FC75-43A859FD61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038F2D8-1B46-F72A-D17F-1E520BA4DD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1CEBB9A-E1AA-2C4E-4973-DD9950BFF3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2E8264A-D9CC-E7AD-871B-E34FFDD0EF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64978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9F5036-52D4-3BA9-E1F8-826F487949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DE32668-EB62-D33D-467D-BCE07806F33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BA24D0A-FC58-548B-96C8-62D10C479B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ED70A99-1C33-263C-6E35-10EEE42FEB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7791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7501E7-0AF4-932B-4157-272D4A68C7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99BC35D-025E-BC55-834F-B94570A84C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1C0CB4F-FCD4-D613-0D61-B46E48F27A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A3115F4-6CC7-F915-A20E-28FF57FD5F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893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82D09-422E-84A6-077D-5DA930F43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0423F03-E9E9-C6FE-7EEF-4E4B2A35DD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D7DC9CC-1EEF-5E61-7EAA-9EA0DDC2BE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625FB7A-FB28-60E5-03DC-B9427ECC6C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40792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64DD7-8463-6330-059E-15B00967BC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4BD29C2-CAC3-EDA1-464B-0F96054AB1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F8CFF46-3942-8C45-CD89-A4200466B5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FF556D9-BED0-FA25-12D7-26A0D87B28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62132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7B992-DF95-5AB1-AD72-FD7BBB060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F4D7E05-3A47-2712-CDE3-D3B05AD673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E0C2CA1-84A4-ED20-8B6F-028ABFC675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E101323-2B59-7C2B-9ABE-10A46E8EA6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19566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686AF-5A52-3CF7-605E-331442BC2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C18061F0-C34A-F013-6294-D2B7C5F0B1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082B670-2179-A529-029A-42F455B174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11CF6E9-309A-110A-0D57-19032631D7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68046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91260C-7B06-27E7-74DE-38A7AB053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411E6A5-F02B-3934-3F38-9913697AEB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E91E54D-1EEA-B484-FC41-4703D2EEFC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36022DB-60A8-EEA0-F75E-9F89F7DEAC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22082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D79A29-DA23-EDA4-8B62-28827847F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A6C649D-4588-A4FB-AA72-135D496D15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9BF8593-859A-0F4C-EEE9-8CAADA9A50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445BECF-3244-2D68-56AF-78EA2CCF3D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95440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E2A97C-FB67-8BD4-E8C2-DFB8B1F6C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2E5B847-657A-283F-D42F-AA8F494EEF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757D5DF-F6F5-B7A4-612D-9F29D305BDF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CBAA281-BBB9-7C84-0494-93FD5446A4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18841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B7C3D7-C53F-7450-AFD9-61D1846187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6932E8C-6E62-AE60-B16C-A6155460AA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A803E43-7822-6F3A-97F2-6B7930AC54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75EDF02-D06B-B900-E03E-6B0037A992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94985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7A1CC4-DC36-C876-4F15-D3B2369979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FE873AE-B7E3-5FDF-4BD4-32B04498B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BF59508-4CF0-CB87-EDA1-43CD14F8A9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25C5AA8-E273-B1E9-776D-4F5552F4B2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19896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32356-A6B3-D9AD-B20A-1013A76041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9BDDF6E-7DE6-51D7-03CC-D69E6853E5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341BC02-6936-55C5-22EC-B9CBB6CA82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982C20B-F4F5-EC3B-656F-FD194E2514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11507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466F99-4F56-844D-30A3-8527F17DD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BCB3379-510E-E0D8-EA95-2FF92A8D21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4A786E6-CB8D-3EDB-4B9C-38D899D49D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7DA44BD-1628-0142-6051-967032F4A4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28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095C7F-C825-50B3-2FBF-A0D47DE24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F50C228-9079-B0E9-3237-8D48977336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CD7185C-EB04-2F4E-D1F3-EC35996BFE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3A519D-5B79-F4FF-ADE7-202E51E47D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41940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B76489-5734-0741-CF68-CEBBB8997E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7CA261F-0BDF-B5A7-A02F-D14B939498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DDC1085-737B-5ED3-C3F0-0FA646C1F2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95D97B0-6298-5232-D7FA-77F89D705F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458469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216030-DFCD-C8E0-6B21-BA3F0C9030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A4033122-CFE9-4B0B-61B2-B7DE3A72C21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4AA77002-185E-CCC4-501A-C524712223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42D4DF1-3DA6-25C9-4D5D-5A768DFC30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0071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103E6A-7809-5263-DFE4-972091FA6B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01319F7-EC75-6F53-622D-E5E6DD2160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ED8F7BC-17A4-5C74-F781-27685BDB6F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9EE5D00-22AA-96E5-3ADD-9AE4312637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84784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377D35-1E1E-D97D-C4DB-69BD1F9A6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044B1DB-0D14-2DA7-9B90-8F80721C2B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2C34883-316A-974F-4244-6DB398A6E7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836C01E-32D3-3D24-3483-27D94F1455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16606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59B8F9-B3AC-3F54-BBE1-D2AD1142E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CE2C8FC-1D4E-2B70-713E-D905DCA658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A5049CCF-E2D3-C46A-7F11-3B15EF3281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E27C484-A961-8233-C111-68E62E810D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430650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BB5ED7-AFA4-3DE2-8349-096C8885C6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7A4E1A7-789C-7EA4-BDC6-1A87EBE776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FE8F57A-B1CA-41BA-86B8-079F8C83F9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941C70-4820-162B-268B-82B6D0E3A4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70417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70383B-C4D7-9BF3-CDD0-A34CFA20E7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8493DB9-D18A-DAA4-248F-088763072F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76501C8-C43D-0FA1-8035-2854DA9F96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FE35C93-8ED9-4437-0765-66FEA44DFB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11252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014841-B3FD-A330-E013-2EF493CCF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5AB5FB8-155C-048F-87A1-D71444DAF4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E011050-A347-D885-1C91-572243B850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10E10E6-AA5D-D5E3-F083-31F4DFFF3E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29211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375E5-3ABD-1634-09B9-6791267D36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4A2E7BFE-1B8C-EEDA-5DD6-252B941B56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E9FE6C9F-10BF-991F-BEEB-D3ADA2FFDE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E5E2B4E-FFFE-4B56-00C1-B798F5C890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55445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96A905-8797-1E84-C779-6296E11430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4CFE98E-DCDB-25AD-712F-CD5161C31D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CD9C8B7-E754-992F-C37B-73787DA2A5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A8A6CD4-28A4-6B5E-155B-CE03F544E0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66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AA1AAF-A51E-3370-CBCF-B38DB669D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5827C45-9197-8096-F033-A05E7B8B3E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F9050D7-6CB9-D86A-B31E-CD2028912E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74BD308-5F5F-190B-04EA-F7CF9F4E6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54192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2D1376-E296-44C9-F696-F03DF87CB1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E1FBD00-2897-1249-1156-1C006FB484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C93A143-3062-1872-5858-AFD9096A19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54A2914-2A04-3109-8817-AF8174F435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41949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A324C1-E6E2-F7E2-6D84-42CA75E3AC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A49DCBC4-ADA2-D38B-0148-3A97CF8EB2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D665DED-FA2A-5D25-304B-8BE6275EEA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971F025-5DA0-F80F-7E2B-DD132229AE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85626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DCE6C5-8ED5-A297-AE98-C15C9D35EC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2B3A6BC-1D7C-6A44-0FBA-929CE9EE0C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84642A0-1DCF-B7F8-7FEE-970D25BFB9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352FCCD-2B6D-475D-A00B-157174AF12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79984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CD7051-C975-DADD-E608-C71F179C6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103FAD6-33CF-A21B-3BFC-B1854DE19C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D94287A-B170-1A3D-769E-1456F18934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B19E304-0CC0-3E82-BC51-195FEB1967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31402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14C822-93BE-BA15-4F75-B688AB96E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5C3441D-D080-C63A-18C8-764EA2CA89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9EFB6F7-ACE1-7981-EA8C-9DF3819703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E370201-38D7-8A16-3E79-BCA342DB1D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737198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1D200F-267D-62E7-B707-49FB949BEB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7D3D832-E6E6-7644-F442-03256F9142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B72797DF-9B44-9232-5229-D825E28404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5AACC4F-FEFD-5350-2413-0AF7ACB23C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5609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A46007-5517-3457-3986-111777377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DF33F4D-D9FB-A8E4-1A78-370C8B36DB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DDF73A0-0CFE-63C1-D275-51FFC3E84D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AF62BE4-B603-E4CD-765A-A660FE0818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1040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E8C11A-5E62-0C93-895C-6F6FD4ECDF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E8E5BC2-F905-DEDD-8CFD-22DE1946CA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EF34FBF-211D-0AEE-E33C-8A8BEFF9666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4B51255-3896-2999-6147-5CEEBFD194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039563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F55C0-183F-5F0D-AB44-7DF7A058DD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D3E97D8-FAF0-FCED-B18F-8E23148013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1BC7F5D-5C4B-D8A5-A5E8-06597DFE2D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F7C1AAD-A809-B05B-92A3-D586E0D9FA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721979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CED800-3182-A875-AA5D-736AD4A1D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7EBAE2F-06E1-87C6-758B-237596F37F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5E5FE5D-E3A0-52B9-64E0-53808A99EC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8926E1A-2024-B68C-74AD-7D131C49FF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28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601E72-700A-3CD3-2F2C-7EE5298A53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3F03F2C6-E3CC-BDC8-D274-B028D473A8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908BFA3-A9A7-98E6-53AF-C836D3AE67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8447517-F5D2-48ED-7241-4F8B7C8BC6B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07662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DEE1C-AA74-0EC2-4E7B-A798F40C0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195CF6C-7E7E-3F01-D0C0-B0E1797255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A81EBB2-A77B-A51B-BA8B-ACC9DD0F3B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FDD9309-BBEB-377F-8B6D-B2B0CBFBFF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97399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225BF-65B8-8DA0-302F-1DD1EEFA7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FF189387-6569-0177-8AFF-859655118F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F9AD0133-F5EF-0014-11C2-ACCD85953A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A5ADEF1-EA9F-57C2-4795-10086A4671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280036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1975C-0374-9D9E-95B6-D8497A22BF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07AE4963-159F-4BA2-3F0D-9FF97BF490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4433B78-0710-B367-0C9D-2CA0BE1628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979611D-C837-E278-56AA-AB00105013F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226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869867-EC5E-F280-3CE7-4BD2F1A18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AA9B2F2A-8454-DC6A-3D19-1784E01DDA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9EFBFA0D-0049-FC0D-D669-2967C40DEF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C54777C-B885-212E-5878-103D38679F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689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CCF79-D840-9F9C-9948-492484CD0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1500B00-BF0D-A8B5-8C16-773F317F12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69D1CEFD-B6A5-B37B-B0AC-C62EB3559A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C536B50-18CF-D0E6-7E9D-4BC70929DE6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473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203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2862" y="6576060"/>
            <a:ext cx="12189138" cy="28194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1"/>
            <a:ext cx="12120000" cy="66166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576056"/>
            <a:ext cx="1109665" cy="2819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1"/>
            <a:ext cx="72000" cy="66166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4B6C3FF-0A9C-E935-B930-6013B7FF28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85" b="26658"/>
          <a:stretch/>
        </p:blipFill>
        <p:spPr>
          <a:xfrm>
            <a:off x="0" y="6576057"/>
            <a:ext cx="1078901" cy="281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77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38697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867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chart" Target="../charts/chart22.xml"/><Relationship Id="rId7" Type="http://schemas.openxmlformats.org/officeDocument/2006/relationships/chart" Target="../charts/chart2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Relationship Id="rId9" Type="http://schemas.openxmlformats.org/officeDocument/2006/relationships/chart" Target="../charts/char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4.xml"/><Relationship Id="rId3" Type="http://schemas.openxmlformats.org/officeDocument/2006/relationships/chart" Target="../charts/chart29.xml"/><Relationship Id="rId7" Type="http://schemas.openxmlformats.org/officeDocument/2006/relationships/chart" Target="../charts/chart3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2.xml"/><Relationship Id="rId11" Type="http://schemas.openxmlformats.org/officeDocument/2006/relationships/chart" Target="../charts/chart37.xml"/><Relationship Id="rId5" Type="http://schemas.openxmlformats.org/officeDocument/2006/relationships/chart" Target="../charts/chart31.xml"/><Relationship Id="rId10" Type="http://schemas.openxmlformats.org/officeDocument/2006/relationships/chart" Target="../charts/chart36.xml"/><Relationship Id="rId4" Type="http://schemas.openxmlformats.org/officeDocument/2006/relationships/chart" Target="../charts/chart30.xml"/><Relationship Id="rId9" Type="http://schemas.openxmlformats.org/officeDocument/2006/relationships/chart" Target="../charts/chart3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.xml"/><Relationship Id="rId3" Type="http://schemas.openxmlformats.org/officeDocument/2006/relationships/chart" Target="../charts/chart38.xml"/><Relationship Id="rId7" Type="http://schemas.openxmlformats.org/officeDocument/2006/relationships/chart" Target="../charts/chart4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1.xml"/><Relationship Id="rId5" Type="http://schemas.openxmlformats.org/officeDocument/2006/relationships/chart" Target="../charts/chart40.xml"/><Relationship Id="rId4" Type="http://schemas.openxmlformats.org/officeDocument/2006/relationships/chart" Target="../charts/chart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6.xml"/><Relationship Id="rId4" Type="http://schemas.openxmlformats.org/officeDocument/2006/relationships/chart" Target="../charts/chart4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2.xml"/><Relationship Id="rId3" Type="http://schemas.openxmlformats.org/officeDocument/2006/relationships/chart" Target="../charts/chart47.xml"/><Relationship Id="rId7" Type="http://schemas.openxmlformats.org/officeDocument/2006/relationships/chart" Target="../charts/chart5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0.xml"/><Relationship Id="rId5" Type="http://schemas.openxmlformats.org/officeDocument/2006/relationships/chart" Target="../charts/chart49.xml"/><Relationship Id="rId4" Type="http://schemas.openxmlformats.org/officeDocument/2006/relationships/chart" Target="../charts/chart48.xml"/><Relationship Id="rId9" Type="http://schemas.openxmlformats.org/officeDocument/2006/relationships/chart" Target="../charts/char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9.xml"/><Relationship Id="rId3" Type="http://schemas.openxmlformats.org/officeDocument/2006/relationships/chart" Target="../charts/chart54.xml"/><Relationship Id="rId7" Type="http://schemas.openxmlformats.org/officeDocument/2006/relationships/chart" Target="../charts/chart58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7.xml"/><Relationship Id="rId11" Type="http://schemas.openxmlformats.org/officeDocument/2006/relationships/chart" Target="../charts/chart62.xml"/><Relationship Id="rId5" Type="http://schemas.openxmlformats.org/officeDocument/2006/relationships/chart" Target="../charts/chart56.xml"/><Relationship Id="rId10" Type="http://schemas.openxmlformats.org/officeDocument/2006/relationships/chart" Target="../charts/chart61.xml"/><Relationship Id="rId4" Type="http://schemas.openxmlformats.org/officeDocument/2006/relationships/chart" Target="../charts/chart55.xml"/><Relationship Id="rId9" Type="http://schemas.openxmlformats.org/officeDocument/2006/relationships/chart" Target="../charts/chart60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8.xml"/><Relationship Id="rId3" Type="http://schemas.openxmlformats.org/officeDocument/2006/relationships/chart" Target="../charts/chart63.xml"/><Relationship Id="rId7" Type="http://schemas.openxmlformats.org/officeDocument/2006/relationships/chart" Target="../charts/chart67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6.xml"/><Relationship Id="rId5" Type="http://schemas.openxmlformats.org/officeDocument/2006/relationships/chart" Target="../charts/chart65.xml"/><Relationship Id="rId4" Type="http://schemas.openxmlformats.org/officeDocument/2006/relationships/chart" Target="../charts/chart6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7.xml"/><Relationship Id="rId3" Type="http://schemas.openxmlformats.org/officeDocument/2006/relationships/chart" Target="../charts/chart72.xml"/><Relationship Id="rId7" Type="http://schemas.openxmlformats.org/officeDocument/2006/relationships/chart" Target="../charts/chart76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75.xml"/><Relationship Id="rId5" Type="http://schemas.openxmlformats.org/officeDocument/2006/relationships/chart" Target="../charts/chart74.xml"/><Relationship Id="rId4" Type="http://schemas.openxmlformats.org/officeDocument/2006/relationships/chart" Target="../charts/chart73.xml"/><Relationship Id="rId9" Type="http://schemas.openxmlformats.org/officeDocument/2006/relationships/chart" Target="../charts/chart7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chart" Target="../charts/chart10.xml"/><Relationship Id="rId7" Type="http://schemas.openxmlformats.org/officeDocument/2006/relationships/chart" Target="../charts/chart1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D8C3D5-8521-F2DB-3A98-50162C0DC05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8" y="-9642"/>
            <a:ext cx="4820088" cy="12892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CEEA90-EDF0-E609-08E0-CC70AB569296}"/>
              </a:ext>
            </a:extLst>
          </p:cNvPr>
          <p:cNvSpPr txBox="1">
            <a:spLocks/>
          </p:cNvSpPr>
          <p:nvPr/>
        </p:nvSpPr>
        <p:spPr>
          <a:xfrm>
            <a:off x="2921286" y="2696066"/>
            <a:ext cx="6358516" cy="137560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срочный прогноз потребности в кадрах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6E2D593-5ECE-CE25-3A6A-CFEDA90DE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0886" y="4362102"/>
            <a:ext cx="6011114" cy="2495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684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2DED6A-90E3-BD2C-C9F1-B7189CAAF3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3B8665-5528-0F2D-BCB5-681FF270D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год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6AB6DF6-15E0-DDD1-BF7E-17080E5E23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344530C-8CF3-564A-2B75-5BF55DDAA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107862"/>
              </p:ext>
            </p:extLst>
          </p:nvPr>
        </p:nvGraphicFramePr>
        <p:xfrm>
          <a:off x="237487" y="1566862"/>
          <a:ext cx="2624829" cy="45907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4829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77A68BC-F999-EA9F-E18D-99DB532FB029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A9D745B-D1BF-AC8B-0FFE-7B8655B0CFF5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5227A9A-6F54-3FD7-6FD3-37C7CCEDC7D7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B1200353-4059-4B4E-9252-4F72013F6C4A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977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438236D5-F357-6AAB-9393-E355CC64E96B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864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6F99D50D-12F1-B9C2-A6B9-98EC27548045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2 123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0EBAC93-400F-D4CE-20B5-9760872B18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8986484"/>
              </p:ext>
            </p:extLst>
          </p:nvPr>
        </p:nvGraphicFramePr>
        <p:xfrm>
          <a:off x="2915927" y="1410511"/>
          <a:ext cx="2628839" cy="4844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45D262F1-3051-8ED8-C93C-794BB8FA32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915093"/>
              </p:ext>
            </p:extLst>
          </p:nvPr>
        </p:nvGraphicFramePr>
        <p:xfrm>
          <a:off x="5598377" y="1410819"/>
          <a:ext cx="3331953" cy="4820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E6B8537B-7E61-470C-14DB-7F9E110C64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8108900"/>
              </p:ext>
            </p:extLst>
          </p:nvPr>
        </p:nvGraphicFramePr>
        <p:xfrm>
          <a:off x="9171901" y="1411430"/>
          <a:ext cx="3010854" cy="4771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FCA8EBD2-0F07-BC52-7576-B7E931090DCE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1174539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E68FEA-4E8B-988C-B52D-539251C252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377E14-D141-70E9-7907-BE169413C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овокупный спрос на кадры в 2025-2035 годах по группам профессий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F20F648-1B3F-883F-F3A9-C88122312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CB695C61-52BE-B27C-1C9B-1E76CE5FF5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725215"/>
              </p:ext>
            </p:extLst>
          </p:nvPr>
        </p:nvGraphicFramePr>
        <p:xfrm>
          <a:off x="237487" y="1566863"/>
          <a:ext cx="2778087" cy="46160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72363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405724">
                  <a:extLst>
                    <a:ext uri="{9D8B030D-6E8A-4147-A177-3AD203B41FA5}">
                      <a16:colId xmlns:a16="http://schemas.microsoft.com/office/drawing/2014/main" val="1007449330"/>
                    </a:ext>
                  </a:extLst>
                </a:gridCol>
              </a:tblGrid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уководители и госслужащие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профессионалы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техники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лужащие в области администрирования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тники сферы услуг и продаж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ермеры и рабочие сельского хозяйств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чие промышленности, строительства, транспорт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ператоры производственного оборудования, сборщики и водители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512899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Неквалифицированные рабочие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84A2C14-4F2E-6F2F-BCB5-68CFCF5B3DCB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E9A06C8-6054-663B-6EEF-3CB87AAB1F90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7A18E86-22E2-9031-A921-6F1AA4F7A3C1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9E8A4661-D4F2-EE63-F566-43BB6BF8B9E3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977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E58EA323-3743-4082-3737-C85F5BD26141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864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C9948A88-1E4E-A0F1-98C8-BCFC28599852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2 123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B1C1984-7B42-8FB0-BC91-47162C9C5D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2702398"/>
              </p:ext>
            </p:extLst>
          </p:nvPr>
        </p:nvGraphicFramePr>
        <p:xfrm>
          <a:off x="3044758" y="1410511"/>
          <a:ext cx="2757792" cy="4844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C6C74F57-69BF-4890-0C45-70FCD32945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5266753"/>
              </p:ext>
            </p:extLst>
          </p:nvPr>
        </p:nvGraphicFramePr>
        <p:xfrm>
          <a:off x="5826978" y="1410819"/>
          <a:ext cx="3193198" cy="4820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436CF83-6CBC-641A-0983-09FF8F7FCC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0156088"/>
              </p:ext>
            </p:extLst>
          </p:nvPr>
        </p:nvGraphicFramePr>
        <p:xfrm>
          <a:off x="9458867" y="1411430"/>
          <a:ext cx="3010854" cy="4771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E76AE2FB-49D1-F291-6DBE-CF25ED4795FF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6BD0233-C202-C831-DB36-5A78F93B12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70189"/>
              </p:ext>
            </p:extLst>
          </p:nvPr>
        </p:nvGraphicFramePr>
        <p:xfrm>
          <a:off x="5482997" y="1573212"/>
          <a:ext cx="400278" cy="45456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0278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b"/>
                      <a:r>
                        <a:rPr lang="ru-KZ" sz="9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24AB54A8-3EB4-CECA-6B6F-555050B51C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285566"/>
              </p:ext>
            </p:extLst>
          </p:nvPr>
        </p:nvGraphicFramePr>
        <p:xfrm>
          <a:off x="9101525" y="1573211"/>
          <a:ext cx="400278" cy="45456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0278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50507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9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9910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9C134A-74EB-B78E-6CF0-DE9A4EE63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943138-D0A8-240E-69B7-E36CFE554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прос на кадры по замещению в 2025-2035 годах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18DE56D-0ECB-189E-12ED-59D76077F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880990D9-FBA2-A4C1-8C91-3FAD74ECBCDC}"/>
              </a:ext>
            </a:extLst>
          </p:cNvPr>
          <p:cNvSpPr/>
          <p:nvPr/>
        </p:nvSpPr>
        <p:spPr>
          <a:xfrm>
            <a:off x="1204824" y="1194369"/>
            <a:ext cx="1975698" cy="304231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1 418 </a:t>
            </a:r>
            <a:r>
              <a:rPr lang="ru-RU" sz="1400" dirty="0"/>
              <a:t>тыс. человек</a:t>
            </a:r>
            <a:endParaRPr lang="ru-KZ" sz="1400" dirty="0"/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5FF61049-7364-6EF8-1701-CFC5D1B2E386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</a:t>
            </a:r>
            <a:endParaRPr lang="ru-KZ" sz="18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6C568D3-085D-BAC3-B50A-ED699B781823}"/>
              </a:ext>
            </a:extLst>
          </p:cNvPr>
          <p:cNvSpPr txBox="1">
            <a:spLocks/>
          </p:cNvSpPr>
          <p:nvPr/>
        </p:nvSpPr>
        <p:spPr>
          <a:xfrm>
            <a:off x="-64355" y="2505075"/>
            <a:ext cx="1567030" cy="22482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пенсионный возраст</a:t>
            </a:r>
            <a:endParaRPr lang="ru-KZ" sz="1050" b="0" kern="0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EF008E5-DAE0-ED47-604A-3140A26D1984}"/>
              </a:ext>
            </a:extLst>
          </p:cNvPr>
          <p:cNvSpPr txBox="1">
            <a:spLocks/>
          </p:cNvSpPr>
          <p:nvPr/>
        </p:nvSpPr>
        <p:spPr>
          <a:xfrm>
            <a:off x="-64355" y="1913582"/>
            <a:ext cx="1567030" cy="1781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смертность</a:t>
            </a:r>
            <a:endParaRPr lang="ru-KZ" sz="1050" b="0" kern="0" dirty="0"/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94273871-FD86-EC73-2C1B-8CBE7D4E8E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1698191"/>
              </p:ext>
            </p:extLst>
          </p:nvPr>
        </p:nvGraphicFramePr>
        <p:xfrm>
          <a:off x="139700" y="3538329"/>
          <a:ext cx="3572817" cy="282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3963C629-C513-BA54-2147-C6DE8A4C06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2125848"/>
              </p:ext>
            </p:extLst>
          </p:nvPr>
        </p:nvGraphicFramePr>
        <p:xfrm>
          <a:off x="833851" y="1428749"/>
          <a:ext cx="2686052" cy="179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DBE3AA1A-BCD7-0F76-B558-2988ECF012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022021"/>
              </p:ext>
            </p:extLst>
          </p:nvPr>
        </p:nvGraphicFramePr>
        <p:xfrm>
          <a:off x="3769730" y="1146865"/>
          <a:ext cx="1853830" cy="32584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38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 в целом</a:t>
                      </a:r>
                      <a:endParaRPr lang="ru-RU" sz="800" b="1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рнодобывающая промышленность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батывающая промышленность 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электро- и энергоснабжение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одоснабжение и удаление отходов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орговля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 и складир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слуги по проживанию и питани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нформация и связ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Финансы и страх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перации с недвижимость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ф. и научная деятель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дм. и вспом. обслужи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с. управление и соц. обеспеч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з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дравоохран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скусство и развлечени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индивидуаль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DFCB12D5-5BC3-B2B5-53BA-540E603D65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379259"/>
              </p:ext>
            </p:extLst>
          </p:nvPr>
        </p:nvGraphicFramePr>
        <p:xfrm>
          <a:off x="5573319" y="1028700"/>
          <a:ext cx="2374341" cy="3441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7FAF3E52-A831-7DF3-2008-3A91047658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358412"/>
              </p:ext>
            </p:extLst>
          </p:nvPr>
        </p:nvGraphicFramePr>
        <p:xfrm>
          <a:off x="3766930" y="4579272"/>
          <a:ext cx="1856630" cy="1100113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. и распределение товаров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Бизнес-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ществен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646F429C-A077-9EE6-CF00-4BA899840E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108048"/>
              </p:ext>
            </p:extLst>
          </p:nvPr>
        </p:nvGraphicFramePr>
        <p:xfrm>
          <a:off x="5573320" y="4541149"/>
          <a:ext cx="2567819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47965C97-BAA6-E571-0B2D-B0624BCEE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828098"/>
              </p:ext>
            </p:extLst>
          </p:nvPr>
        </p:nvGraphicFramePr>
        <p:xfrm>
          <a:off x="3766930" y="5873048"/>
          <a:ext cx="1856630" cy="451538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Реальный сектор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фера услуг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2E8D6254-B60B-E2A0-A123-52671485D1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9138203"/>
              </p:ext>
            </p:extLst>
          </p:nvPr>
        </p:nvGraphicFramePr>
        <p:xfrm>
          <a:off x="5573320" y="5834928"/>
          <a:ext cx="3572815" cy="489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B0F424F0-A47C-E1F6-13C1-AA02F978D7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551197"/>
              </p:ext>
            </p:extLst>
          </p:nvPr>
        </p:nvGraphicFramePr>
        <p:xfrm>
          <a:off x="8412656" y="1146864"/>
          <a:ext cx="1091810" cy="38169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</a:tblGrid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AB35ACE5-3B99-3CDA-9C14-A8E8FFCE98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5724522"/>
              </p:ext>
            </p:extLst>
          </p:nvPr>
        </p:nvGraphicFramePr>
        <p:xfrm>
          <a:off x="9442141" y="1009649"/>
          <a:ext cx="2650800" cy="4001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3E3F145-89E3-8EC0-51AC-DAAEBE640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428527"/>
              </p:ext>
            </p:extLst>
          </p:nvPr>
        </p:nvGraphicFramePr>
        <p:xfrm>
          <a:off x="8412656" y="5143169"/>
          <a:ext cx="1091810" cy="118142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егаполис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Юг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апад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вер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49F41C05-BEFD-47B1-7396-25E548C3FD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56775"/>
              </p:ext>
            </p:extLst>
          </p:nvPr>
        </p:nvGraphicFramePr>
        <p:xfrm>
          <a:off x="9446764" y="5086350"/>
          <a:ext cx="2655471" cy="1261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142970D3-C38F-B804-C73F-E0855586001B}"/>
              </a:ext>
            </a:extLst>
          </p:cNvPr>
          <p:cNvSpPr txBox="1">
            <a:spLocks/>
          </p:cNvSpPr>
          <p:nvPr/>
        </p:nvSpPr>
        <p:spPr>
          <a:xfrm>
            <a:off x="4236496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отраслям</a:t>
            </a:r>
            <a:endParaRPr lang="ru-KZ" sz="1600" b="0" kern="0" dirty="0"/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A711FA29-F1B9-9FAC-DDF6-7405A8150D05}"/>
              </a:ext>
            </a:extLst>
          </p:cNvPr>
          <p:cNvSpPr txBox="1">
            <a:spLocks/>
          </p:cNvSpPr>
          <p:nvPr/>
        </p:nvSpPr>
        <p:spPr>
          <a:xfrm>
            <a:off x="8490444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регионам</a:t>
            </a:r>
            <a:endParaRPr lang="ru-KZ" sz="1600" b="0" kern="0" dirty="0"/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A2CEDDF3-06C1-B167-23DF-869A292B1B44}"/>
              </a:ext>
            </a:extLst>
          </p:cNvPr>
          <p:cNvCxnSpPr>
            <a:cxnSpLocks/>
          </p:cNvCxnSpPr>
          <p:nvPr/>
        </p:nvCxnSpPr>
        <p:spPr>
          <a:xfrm>
            <a:off x="3766930" y="45010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016D66A8-3914-F409-0249-6D9A8C050E4D}"/>
              </a:ext>
            </a:extLst>
          </p:cNvPr>
          <p:cNvCxnSpPr>
            <a:cxnSpLocks/>
          </p:cNvCxnSpPr>
          <p:nvPr/>
        </p:nvCxnSpPr>
        <p:spPr>
          <a:xfrm flipV="1">
            <a:off x="3597965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26889344-0269-8446-8914-BEB0B8225F5E}"/>
              </a:ext>
            </a:extLst>
          </p:cNvPr>
          <p:cNvSpPr txBox="1">
            <a:spLocks/>
          </p:cNvSpPr>
          <p:nvPr/>
        </p:nvSpPr>
        <p:spPr>
          <a:xfrm>
            <a:off x="111756" y="322493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годам</a:t>
            </a:r>
            <a:endParaRPr lang="ru-KZ" sz="1600" b="0" kern="0" dirty="0"/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9AAFA478-673B-F846-CA3C-37697FA1EB32}"/>
              </a:ext>
            </a:extLst>
          </p:cNvPr>
          <p:cNvCxnSpPr>
            <a:cxnSpLocks/>
          </p:cNvCxnSpPr>
          <p:nvPr/>
        </p:nvCxnSpPr>
        <p:spPr>
          <a:xfrm>
            <a:off x="3766930" y="57583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902FEAA6-4D1D-7164-54F6-B2888012DF43}"/>
              </a:ext>
            </a:extLst>
          </p:cNvPr>
          <p:cNvCxnSpPr>
            <a:cxnSpLocks/>
          </p:cNvCxnSpPr>
          <p:nvPr/>
        </p:nvCxnSpPr>
        <p:spPr>
          <a:xfrm>
            <a:off x="8412656" y="505349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B26E3C07-8AEB-23C9-6B10-B31E6A65A09B}"/>
              </a:ext>
            </a:extLst>
          </p:cNvPr>
          <p:cNvCxnSpPr>
            <a:cxnSpLocks/>
          </p:cNvCxnSpPr>
          <p:nvPr/>
        </p:nvCxnSpPr>
        <p:spPr>
          <a:xfrm flipV="1">
            <a:off x="8255690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2277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1C7C68-5CBF-F9BD-4817-5D762EA40D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881AC5-E980-95ED-EB23-314A25338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9772DE1-425A-6DFE-F67B-B63A76EB5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6358EC7-0A5A-6031-BCDE-4AAD3162D060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408171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9EC5FD1E-41DB-46F2-006E-9E759A09A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562751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5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5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3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 0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2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1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3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8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6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5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6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6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9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9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6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7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2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3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9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 0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8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17484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C07E24-D1C1-F85A-9B01-DC93FC86AC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7C80A4-2286-6F52-94F7-ED6349303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7F69842-A0C7-62B1-0A8C-B670D4B8B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79100F7-F547-CB4A-3135-495949E10A97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408171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3AD8AC5-9D4E-561A-07A6-751C3183EF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369630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6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7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8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9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0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1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2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3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4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55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5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36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 0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2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1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37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86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66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 5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60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56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96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91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64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7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2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 38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7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9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4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7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8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 0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84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2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9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6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6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 6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2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4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 27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27853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684AD6-F30C-68CC-C559-C6BB4353BA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E6EF0B-C99E-240B-7786-5779B1128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6C1A5F5-1E24-A141-E756-D842F9186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BBF2929-7AC2-DC48-1F8F-C5B9C8B7C56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408171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41B578DC-E0D7-EB9F-7388-7A9EF83E6F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268911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2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9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7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6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39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3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6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1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 6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4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7310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C7E9B-0273-65CA-F24B-71741AF41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C179AB-1C0C-3948-D6B9-36E2C1C26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овокупный спрос в 2025-2035 годах по годам и группам профессий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69C1560-8797-377B-1EA0-2D64A816C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72EFB31-5088-7E01-E322-EA575CE634A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408171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6D2932D-B042-CE33-74CC-25F7A3A370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053762"/>
              </p:ext>
            </p:extLst>
          </p:nvPr>
        </p:nvGraphicFramePr>
        <p:xfrm>
          <a:off x="175097" y="1070044"/>
          <a:ext cx="11880000" cy="5400000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2808000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662280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6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7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8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9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0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1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2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3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4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уководители и госслужащие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0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профессионалы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 0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техники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6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 6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лужащие в области администрирования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 54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тники сферы услуг и продаж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0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 3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ермеры и рабочие сельского хозяйств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3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чие промышленности, строительства, транспорт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9 3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ператоры производственного оборудования, сборщики и водители</a:t>
                      </a: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 7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Неквалифицированные рабочие</a:t>
                      </a: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 2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6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58660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A8DAD0-9CE2-8A62-212B-885866D034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FEC564-25A3-298A-BE54-1E05BB584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FE2FF1A-84C1-2E08-AAE8-5504493E3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7162A84-242F-C39B-1B87-04EB10829B42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433855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B1618DF-00B7-7508-EBC3-6B108ADF76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349861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7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0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7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4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2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8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7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2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64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8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8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 2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 3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5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2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8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1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6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 0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1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4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15871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89648C-AEAC-A4A7-3411-674F753AC5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67AA41-0D8D-E5BA-3F57-A8A49B46A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48884C2-9287-D90A-B80C-7E108C48D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1B412B86-91AC-8E07-9611-16450E235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106941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7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0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7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 4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 2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8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7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 2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64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8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 4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 8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 2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 3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5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2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 8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1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6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4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5479482-2639-6EFC-8E97-DCC0AA15A541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433855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601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00C47-3CB8-057F-E071-B038A29F2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3FE6C9-E7EA-C59C-F97C-B0D6D942D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C30FF72-88E5-53C8-17F1-8FC1EFB24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8B8C652-4868-795D-A14E-8C56713F97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5345774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3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0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4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 5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 4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7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9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1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6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 0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1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4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749B0FB-6D24-2607-953A-B18F12C735CC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433855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2922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1A626-047E-A125-4463-C42523100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6A992A-441F-2FCE-4FEF-AB831EB5B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AA7C4D1-AE2D-477B-83AB-17F5F8A42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22B6919-9A9D-EA48-2D81-68DD482E49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953952"/>
              </p:ext>
            </p:extLst>
          </p:nvPr>
        </p:nvGraphicFramePr>
        <p:xfrm>
          <a:off x="161211" y="661661"/>
          <a:ext cx="11744277" cy="564388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110778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1633499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290375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РАЗДЕЛА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ТРАНИЦЫ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290375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A1121"/>
                          </a:solidFill>
                        </a:rPr>
                        <a:t>Основные выводы</a:t>
                      </a:r>
                      <a:endParaRPr lang="ru-RU" sz="1600" kern="1200" dirty="0">
                        <a:solidFill>
                          <a:srgbClr val="0A112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-5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290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0A1121"/>
                          </a:solidFill>
                        </a:rPr>
                        <a:t>Прогноз параметров рынка труда</a:t>
                      </a:r>
                      <a:endParaRPr lang="ru-RU" sz="1600" kern="1200" dirty="0">
                        <a:solidFill>
                          <a:srgbClr val="0A112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 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1397338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A1121"/>
                          </a:solidFill>
                        </a:rPr>
                        <a:t>ЧАСТЬ 1. ВЕСЬ СПРОС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на кадры в 2025-2035 годах по отраслям, регионам, годам, группам професс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прос по замещению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0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в 2025-2035 годах по регионам и отраслям, по годам и регионам, отраслям, группам профессий:</a:t>
                      </a:r>
                    </a:p>
                    <a:p>
                      <a:pPr marL="357188" indent="-177800"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зовый сценарий</a:t>
                      </a:r>
                    </a:p>
                    <a:p>
                      <a:pPr marL="357188" indent="-177800"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птимистичный сценарий</a:t>
                      </a:r>
                    </a:p>
                    <a:p>
                      <a:pPr marL="357188" indent="-177800"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ессимистичный сценарий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-24 </a:t>
                      </a:r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4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ctr"/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8-11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12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13-24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13-16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17-20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21-24…</a:t>
                      </a:r>
                      <a:endParaRPr lang="ru-RU" sz="1200" b="0" i="1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  <a:tr h="1397338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A1121"/>
                          </a:solidFill>
                        </a:rPr>
                        <a:t>ЧАСТЬ 2. КВАЛИФИЦИРОВАННЫЙ ТРУД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на кадры в 2025-2035 годах по отраслям, регионам, годам, группам професс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прос по замещению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0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в 2025-2035 годах по регионам и отраслям, по годам и регионам, отраслям, группам профессий: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Базовый сценарий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Оптимистичный сценарий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536575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Пессимистичный сценарий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5-38 </a:t>
                      </a:r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4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ctr"/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26-28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29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30-38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30-32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33-35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36-38…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838989"/>
                  </a:ext>
                </a:extLst>
              </a:tr>
              <a:tr h="1397338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A1121"/>
                          </a:solidFill>
                        </a:rPr>
                        <a:t>ЧАСТЬ 3. РАБОЧИЕ ПРОФЕССИИ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на кадры в 2025-2035 годах по отраслям, регионам, годам, группам професси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1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прос по замещению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i="0" kern="1200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вокупный спрос в 2025-2035 годах по регионам и отраслям, по годам и регионам, отраслям, группам профессий: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1073150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Базовый сценарий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1073150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Оптимистичный сценарий</a:t>
                      </a:r>
                    </a:p>
                    <a:p>
                      <a:pPr marL="357188" marR="0" indent="-177800" algn="l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  <a:tabLst>
                          <a:tab pos="1073150" algn="l"/>
                        </a:tabLst>
                      </a:pPr>
                      <a:r>
                        <a:rPr lang="ru-RU" sz="1200" b="0" i="1" u="none" strike="noStrike" kern="1200" cap="none" dirty="0">
                          <a:solidFill>
                            <a:srgbClr val="0A112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Arial"/>
                        </a:rPr>
                        <a:t>Пессимистичный сценарий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9-52 </a:t>
                      </a:r>
                      <a:r>
                        <a:rPr lang="en-US" sz="14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4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ctr"/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40-42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43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44-52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44-46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47-49…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50-52…</a:t>
                      </a:r>
                      <a:endParaRPr lang="ru-RU" sz="1200" b="0" i="1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65100"/>
                  </a:ext>
                </a:extLst>
              </a:tr>
              <a:tr h="290375">
                <a:tc>
                  <a:txBody>
                    <a:bodyPr/>
                    <a:lstStyle/>
                    <a:p>
                      <a:r>
                        <a:rPr lang="ru-RU" sz="1600" b="0" i="0" u="none" strike="noStrike" kern="0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ЧАСТЬ 4. НАИБОЛЕЕ ВОСТРЕБОВАННЫЕ ПРОФЕССИИ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3-65 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1608289"/>
                  </a:ext>
                </a:extLst>
              </a:tr>
              <a:tr h="290375">
                <a:tc>
                  <a:txBody>
                    <a:bodyPr/>
                    <a:lstStyle/>
                    <a:p>
                      <a:r>
                        <a:rPr lang="ru-RU" sz="1600" b="0" i="0" u="none" strike="noStrike" kern="0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ЧАСТЬ 5. НАИБОЛЕЕ ВОСТРЕБОВАННЫЕ РАБОЧИЕ ПРОФЕССИИ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6-78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23862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424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A8B132-8319-3CDC-F61E-217A90765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185CCA-EBEB-BA65-3288-185377003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овокупный спрос в 2025-2035 годах по годам и группам профессий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E4D9E8D-E6D8-8ACF-1654-8B84CA82A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4A9FD30-3803-8C1F-AAD9-2B0AD493A96E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481750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A853A0AB-3619-017E-7CFF-AA41A10A64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308681"/>
              </p:ext>
            </p:extLst>
          </p:nvPr>
        </p:nvGraphicFramePr>
        <p:xfrm>
          <a:off x="175097" y="1070044"/>
          <a:ext cx="11880000" cy="540000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2808000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662280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уководители и госслужащие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9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6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3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0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 42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профессионалы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8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6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3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8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6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0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6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0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9 8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техники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6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3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9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7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8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лужащие в области администрирования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 5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тники сферы услуг и продаж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6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3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6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2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 49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ермеры и рабочие сельского хозяйств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3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чие промышленности, строительства, транспорт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6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4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8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 7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u="none" strike="noStrike" cap="none" dirty="0">
                          <a:solidFill>
                            <a:schemeClr val="tx1"/>
                          </a:solidFill>
                          <a:effectLst/>
                          <a:sym typeface="Arial"/>
                        </a:rPr>
                        <a:t>Операторы производственного оборудования, сборщики и водители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9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4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8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6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4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 2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u="none" strike="noStrike" cap="none" dirty="0">
                          <a:solidFill>
                            <a:schemeClr val="tx1"/>
                          </a:solidFill>
                          <a:effectLst/>
                          <a:sym typeface="Arial"/>
                        </a:rPr>
                        <a:t>Неквалифицированные рабочи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6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3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8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8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9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6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7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1 89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3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0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4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 5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 4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7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9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1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6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4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64314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74C778-1472-EAC1-919E-A407D2112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A63821-2A82-004E-92F0-02A4C1979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268A96D-6E6F-E64C-B724-5D2610D06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5B66276-A10E-42BA-07A3-1C7E377C4003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602400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924ECCF8-44CA-8E1D-A235-628C38AD16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9776371"/>
              </p:ext>
            </p:extLst>
          </p:nvPr>
        </p:nvGraphicFramePr>
        <p:xfrm>
          <a:off x="175097" y="1070044"/>
          <a:ext cx="11879993" cy="5399991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6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1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09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5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8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6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9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7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4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2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9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7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2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5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8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4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7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7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0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6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3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 6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6359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E97C22-AD4A-9EEB-8A5B-4B7DD01250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4A0578-9363-1F05-D9BC-2D1F7E8F9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29087FE-87A9-8C13-2262-D04758890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82C9178-6FFD-5106-10D0-F546208FB9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516339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5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8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6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9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7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4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2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9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7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1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2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5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8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 4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 7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7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0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7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6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3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9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 6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D892806-9148-1669-328C-9CF1E2F078DE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602400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6001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BC61DB-F715-9C37-2A86-3EF857EE3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55B9C3E-DBBC-7C71-1B83-9AC5646EA4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E5C0C20-CCDC-7F53-9A72-47468B9B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1E7DA97-373E-FC62-65B4-7971646F41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469221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1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0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99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8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3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6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3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2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 6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6CC5F22-539E-3E19-6D92-2B662174780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602400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6286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F8E4A7-9ED6-D39B-A2DB-22FA20847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81BCE6-67FE-64A2-370C-D12A3EF4D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овокупный спрос в 2025-2035 годах по годам и группам профессий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87FC276-9906-4579-01F7-073F9ED4C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8C6D60B-EB67-E7E3-4135-876B2D763357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08420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166B710-FD1D-CF5D-0936-98016D83E8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860615"/>
              </p:ext>
            </p:extLst>
          </p:nvPr>
        </p:nvGraphicFramePr>
        <p:xfrm>
          <a:off x="175097" y="1070044"/>
          <a:ext cx="11880000" cy="5400000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2808000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756000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662280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уководители и госслужащие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0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 7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профессионалы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5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0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9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 43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пециалисты-техники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9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6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лужащие в области администрирования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1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тники сферы услуг и продаж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7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 6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ермеры и рабочие сельского хозяйств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6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абочие промышленности, строительства, транспорта</a:t>
                      </a:r>
                      <a:endParaRPr lang="ru-RU" sz="105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 6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u="none" strike="noStrike" cap="none" dirty="0">
                          <a:solidFill>
                            <a:schemeClr val="tx1"/>
                          </a:solidFill>
                          <a:effectLst/>
                          <a:sym typeface="Arial"/>
                        </a:rPr>
                        <a:t>Операторы производственного оборудования, сборщики и водители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5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u="none" strike="noStrike" cap="none" dirty="0">
                          <a:solidFill>
                            <a:schemeClr val="tx1"/>
                          </a:solidFill>
                          <a:effectLst/>
                          <a:sym typeface="Arial"/>
                        </a:rPr>
                        <a:t>Неквалифицированные рабочие</a:t>
                      </a:r>
                      <a:endParaRPr lang="ru-RU" sz="1050" b="0" i="0" u="none" strike="noStrike" cap="non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4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4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6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9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6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 15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473772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1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0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9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8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6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3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2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 6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56242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E4076-6A50-5A63-AD7F-366BCDE91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C7154EA-2D81-B889-26A7-B8D2951F3E72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ЧАСТЬ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ВАЛИФИЦИРОВАННЫЙ ТРУД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87120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2B154D-E00F-9FA1-327D-4EA48394F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0FC0BD-8C09-10C8-422D-AA370F228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0322C44-B8CB-244B-9DD8-6CF441CA9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3C07840-DEB5-E069-C00F-F73F20A5E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155417"/>
              </p:ext>
            </p:extLst>
          </p:nvPr>
        </p:nvGraphicFramePr>
        <p:xfrm>
          <a:off x="237487" y="1566863"/>
          <a:ext cx="2717513" cy="2980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9513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 в целом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1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батывающая промышленность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орговля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25EE59-90B9-42A7-00AB-89582D7C37A7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2288F73-9D66-D4CE-2DB7-B041D740B6D2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B9E4808-1A8E-3A53-9157-432F4B4C4707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1DBCC0FE-22A3-FB05-7ED6-C29085CCD1FF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511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CD28AC37-8FDD-1CE7-69F9-523D79CC8A44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243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0654215A-8E8A-DC46-F060-F359B49BC8F9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1 791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C485FAB-659B-4940-CCF3-2998379B0B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368295"/>
              </p:ext>
            </p:extLst>
          </p:nvPr>
        </p:nvGraphicFramePr>
        <p:xfrm>
          <a:off x="2915927" y="1471614"/>
          <a:ext cx="2881482" cy="316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A18DBFC-F037-8271-4ABA-A0B2CB0071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3988119"/>
              </p:ext>
            </p:extLst>
          </p:nvPr>
        </p:nvGraphicFramePr>
        <p:xfrm>
          <a:off x="6038980" y="1471614"/>
          <a:ext cx="2891350" cy="315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F971869E-2D2C-C548-934C-A0B5CB3430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6957636"/>
              </p:ext>
            </p:extLst>
          </p:nvPr>
        </p:nvGraphicFramePr>
        <p:xfrm>
          <a:off x="9171901" y="1471614"/>
          <a:ext cx="3010854" cy="3119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96CAE732-78AE-E8F4-330B-8A5802A88A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196137"/>
              </p:ext>
            </p:extLst>
          </p:nvPr>
        </p:nvGraphicFramePr>
        <p:xfrm>
          <a:off x="581406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C6E58794-D5F9-495D-CA21-220B72119D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881575"/>
              </p:ext>
            </p:extLst>
          </p:nvPr>
        </p:nvGraphicFramePr>
        <p:xfrm>
          <a:off x="896112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55B63162-6767-A632-0653-66858071A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0011774"/>
              </p:ext>
            </p:extLst>
          </p:nvPr>
        </p:nvGraphicFramePr>
        <p:xfrm>
          <a:off x="224997" y="4748237"/>
          <a:ext cx="2736000" cy="11001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ировка и распределение товар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Бизнес-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ществен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F70E90E1-1D93-664D-4086-2D7B245F23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9258673"/>
              </p:ext>
            </p:extLst>
          </p:nvPr>
        </p:nvGraphicFramePr>
        <p:xfrm>
          <a:off x="2915927" y="4710114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68211C06-B8DE-8C38-40E5-04180C0019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7548968"/>
              </p:ext>
            </p:extLst>
          </p:nvPr>
        </p:nvGraphicFramePr>
        <p:xfrm>
          <a:off x="6038980" y="4710114"/>
          <a:ext cx="293992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8837D990-0D66-394E-B4FB-7461433CC6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8019085"/>
              </p:ext>
            </p:extLst>
          </p:nvPr>
        </p:nvGraphicFramePr>
        <p:xfrm>
          <a:off x="9171901" y="4710114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C00E178E-A00E-860A-7029-82BA0BFC16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676517"/>
              </p:ext>
            </p:extLst>
          </p:nvPr>
        </p:nvGraphicFramePr>
        <p:xfrm>
          <a:off x="5814068" y="4738687"/>
          <a:ext cx="269875" cy="11185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9E48A2DB-1EF7-8D6F-7DD7-4F307A3736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059049"/>
              </p:ext>
            </p:extLst>
          </p:nvPr>
        </p:nvGraphicFramePr>
        <p:xfrm>
          <a:off x="8961129" y="4719637"/>
          <a:ext cx="263612" cy="1135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612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B21EA02E-D5A5-4399-1DA8-48B197740E07}"/>
              </a:ext>
            </a:extLst>
          </p:cNvPr>
          <p:cNvCxnSpPr/>
          <p:nvPr/>
        </p:nvCxnSpPr>
        <p:spPr>
          <a:xfrm>
            <a:off x="228600" y="46482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1141651D-7744-2190-4599-B56B588F01E6}"/>
              </a:ext>
            </a:extLst>
          </p:cNvPr>
          <p:cNvCxnSpPr/>
          <p:nvPr/>
        </p:nvCxnSpPr>
        <p:spPr>
          <a:xfrm>
            <a:off x="228600" y="5941979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5B324E1-236D-C8EA-F09D-91E6C6D196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4089679"/>
              </p:ext>
            </p:extLst>
          </p:nvPr>
        </p:nvGraphicFramePr>
        <p:xfrm>
          <a:off x="224997" y="6042014"/>
          <a:ext cx="2736000" cy="358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Реальный секто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фера услу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B43CA68B-0B53-BE82-7FA2-EC32C7A036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6248273"/>
              </p:ext>
            </p:extLst>
          </p:nvPr>
        </p:nvGraphicFramePr>
        <p:xfrm>
          <a:off x="2915927" y="6003893"/>
          <a:ext cx="2887973" cy="396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BF0DDE40-313F-2DDC-DDD0-19267F9024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1074304"/>
              </p:ext>
            </p:extLst>
          </p:nvPr>
        </p:nvGraphicFramePr>
        <p:xfrm>
          <a:off x="6038980" y="6003892"/>
          <a:ext cx="3088200" cy="396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A2DE22E2-D565-B476-B33B-8B9CAA5B1D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6789060"/>
              </p:ext>
            </p:extLst>
          </p:nvPr>
        </p:nvGraphicFramePr>
        <p:xfrm>
          <a:off x="9171901" y="6003892"/>
          <a:ext cx="3010854" cy="396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B0108134-E27A-2998-4D83-031FD3859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190744"/>
              </p:ext>
            </p:extLst>
          </p:nvPr>
        </p:nvGraphicFramePr>
        <p:xfrm>
          <a:off x="5814068" y="6032464"/>
          <a:ext cx="269875" cy="3611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805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805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graphicFrame>
        <p:nvGraphicFramePr>
          <p:cNvPr id="36" name="Таблица 35">
            <a:extLst>
              <a:ext uri="{FF2B5EF4-FFF2-40B4-BE49-F238E27FC236}">
                <a16:creationId xmlns:a16="http://schemas.microsoft.com/office/drawing/2014/main" id="{95CE3762-A211-218A-CB39-3AEC55DD8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31778"/>
              </p:ext>
            </p:extLst>
          </p:nvPr>
        </p:nvGraphicFramePr>
        <p:xfrm>
          <a:off x="8961128" y="6013414"/>
          <a:ext cx="269875" cy="3802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90121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90121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7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460CB8ED-5453-6DF2-5045-CAC04B06AB5C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22960504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AC07F-C2EB-11AB-DA49-10ECB55FB2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0D17C0-2B12-70FE-2F14-DF9286CF2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1170C3-3490-3B08-4E10-C60F08770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80CE09D-EEEE-FCB9-EAA7-73E24713FD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680121"/>
              </p:ext>
            </p:extLst>
          </p:nvPr>
        </p:nvGraphicFramePr>
        <p:xfrm>
          <a:off x="491169" y="1566861"/>
          <a:ext cx="2473201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  <a:gridCol w="289581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бай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мол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тюб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лмат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тыр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амбыл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етыс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араган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останай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ызылор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ангист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авлодар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урке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лыта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80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стана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лмат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Шымкент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59D1276-D390-1079-0B6E-5ACADDB8DD92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40BAE15-4FB0-306A-E924-558D174363B9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FA2B5D0-10E4-6B75-81F4-617626C0F060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1E220280-A042-2EF0-F339-9B799373B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55706"/>
              </p:ext>
            </p:extLst>
          </p:nvPr>
        </p:nvGraphicFramePr>
        <p:xfrm>
          <a:off x="2915927" y="1440181"/>
          <a:ext cx="2882893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1EF2598C-D853-7EE8-9DDC-DC97FD6949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8076957"/>
              </p:ext>
            </p:extLst>
          </p:nvPr>
        </p:nvGraphicFramePr>
        <p:xfrm>
          <a:off x="6038980" y="1440181"/>
          <a:ext cx="2853560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88A3D1A4-4147-ADFB-45AA-B2644A3250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4205452"/>
              </p:ext>
            </p:extLst>
          </p:nvPr>
        </p:nvGraphicFramePr>
        <p:xfrm>
          <a:off x="9171901" y="1440181"/>
          <a:ext cx="2913419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2F80E2D9-746A-0FEF-312B-3A9B138670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647792"/>
              </p:ext>
            </p:extLst>
          </p:nvPr>
        </p:nvGraphicFramePr>
        <p:xfrm>
          <a:off x="5814068" y="1566861"/>
          <a:ext cx="269875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8F080E2D-2A90-8B79-2AEC-FD03A1BA72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61795"/>
              </p:ext>
            </p:extLst>
          </p:nvPr>
        </p:nvGraphicFramePr>
        <p:xfrm>
          <a:off x="8961128" y="1566860"/>
          <a:ext cx="269875" cy="336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5B5B66B-AA9E-5AEC-28A5-BB8C3C939A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0678968"/>
              </p:ext>
            </p:extLst>
          </p:nvPr>
        </p:nvGraphicFramePr>
        <p:xfrm>
          <a:off x="491169" y="5234620"/>
          <a:ext cx="2473696" cy="10899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5696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ж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альные и восточ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7F8C5600-3854-E04B-48ED-EDC5D0BA88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0872379"/>
              </p:ext>
            </p:extLst>
          </p:nvPr>
        </p:nvGraphicFramePr>
        <p:xfrm>
          <a:off x="2915927" y="5196497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7637A660-9B93-06B2-8412-9DBA474732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2821439"/>
              </p:ext>
            </p:extLst>
          </p:nvPr>
        </p:nvGraphicFramePr>
        <p:xfrm>
          <a:off x="6038980" y="5196497"/>
          <a:ext cx="290817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ADC9436-001B-02B9-1742-59F15D267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1542110"/>
              </p:ext>
            </p:extLst>
          </p:nvPr>
        </p:nvGraphicFramePr>
        <p:xfrm>
          <a:off x="9171901" y="5196497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D58CA375-668F-BCC1-3B26-3C83E87DC9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184205"/>
              </p:ext>
            </p:extLst>
          </p:nvPr>
        </p:nvGraphicFramePr>
        <p:xfrm>
          <a:off x="5814068" y="5225069"/>
          <a:ext cx="269875" cy="1118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886027E8-711E-4155-7627-5E2BAABD8E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776707"/>
              </p:ext>
            </p:extLst>
          </p:nvPr>
        </p:nvGraphicFramePr>
        <p:xfrm>
          <a:off x="8961128" y="5234620"/>
          <a:ext cx="269875" cy="11090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787C8BE-1D75-141E-B1FB-3A999207E7E9}"/>
              </a:ext>
            </a:extLst>
          </p:cNvPr>
          <p:cNvCxnSpPr/>
          <p:nvPr/>
        </p:nvCxnSpPr>
        <p:spPr>
          <a:xfrm>
            <a:off x="228600" y="51054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29B3275F-8B17-7FAE-E0E5-8DC616AACF7C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</a:t>
            </a:r>
            <a:endParaRPr lang="ru-KZ" sz="1800" kern="0" dirty="0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3DF33CD9-7B9C-63AB-9498-347F46191705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511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9EA89F01-6C43-8E17-1D06-00337F5B25C4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243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F029AB5F-056E-8F86-B9A9-0E5FD462AF32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1 791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8615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DC0070-AA14-87D1-5D0A-BCE59DBE7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65AA6D-C9ED-5A49-48FD-BFB30CF62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год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21F4E90-31DB-7032-A705-79F596803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5AC87AA-566D-D7B3-6B39-7B97B897C051}"/>
              </a:ext>
            </a:extLst>
          </p:cNvPr>
          <p:cNvGraphicFramePr>
            <a:graphicFrameLocks noGrp="1"/>
          </p:cNvGraphicFramePr>
          <p:nvPr/>
        </p:nvGraphicFramePr>
        <p:xfrm>
          <a:off x="237487" y="1566862"/>
          <a:ext cx="2624829" cy="45907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4829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33075FCF-09F4-5B3C-364E-AB5EC5DDFDC5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070430D-ACF6-1B31-19EE-33E73F8E792D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23E334A-BAA3-3BC1-74AA-0C6236B53E6D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4D802E0-81CC-07F5-CC45-703AC62D35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605462"/>
              </p:ext>
            </p:extLst>
          </p:nvPr>
        </p:nvGraphicFramePr>
        <p:xfrm>
          <a:off x="2915927" y="1410511"/>
          <a:ext cx="2628839" cy="4844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BCA1BA4B-E075-1151-FB7E-4AA397AAF6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0666825"/>
              </p:ext>
            </p:extLst>
          </p:nvPr>
        </p:nvGraphicFramePr>
        <p:xfrm>
          <a:off x="5598377" y="1410819"/>
          <a:ext cx="3331953" cy="4820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14889B9-B24D-E25F-E0E6-546BEAB1CC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9661589"/>
              </p:ext>
            </p:extLst>
          </p:nvPr>
        </p:nvGraphicFramePr>
        <p:xfrm>
          <a:off x="9171901" y="1411430"/>
          <a:ext cx="2715299" cy="4771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C34EE96-DA67-F579-8C3B-AD654FA9CE8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</a:t>
            </a:r>
            <a:endParaRPr lang="ru-KZ" sz="1800" kern="0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6E16F71-6B9E-D2B0-9580-C1C83570F047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511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A8E41A11-44C9-BD46-962C-11F17EFBFD6A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243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5BF0CAC8-EAEB-495F-7AA1-C7ED75BD342D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1 791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341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DBCBF4-0B18-2A9B-8B70-3D033F9E06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0F818B-F5DB-4754-9638-8DE69AE68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прос на кадры по замещению в 2025-2035 годах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FDA02F9-ACFE-59FB-4100-E32BC1C69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8A7E4293-6742-1F1F-20C6-C1ED9B09E37C}"/>
              </a:ext>
            </a:extLst>
          </p:cNvPr>
          <p:cNvSpPr/>
          <p:nvPr/>
        </p:nvSpPr>
        <p:spPr>
          <a:xfrm>
            <a:off x="1204824" y="1194369"/>
            <a:ext cx="1975698" cy="304231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1 179 </a:t>
            </a:r>
            <a:r>
              <a:rPr lang="ru-RU" sz="1400" dirty="0"/>
              <a:t>тыс. человек</a:t>
            </a:r>
            <a:endParaRPr lang="ru-KZ" sz="140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D5FBCD92-54EF-505C-492C-A7719E6B20AC}"/>
              </a:ext>
            </a:extLst>
          </p:cNvPr>
          <p:cNvSpPr txBox="1">
            <a:spLocks/>
          </p:cNvSpPr>
          <p:nvPr/>
        </p:nvSpPr>
        <p:spPr>
          <a:xfrm>
            <a:off x="-64355" y="2505075"/>
            <a:ext cx="1567030" cy="22482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пенсионный возраст</a:t>
            </a:r>
            <a:endParaRPr lang="ru-KZ" sz="1050" b="0" kern="0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D8EA48C7-A259-F41F-9FB8-DAEE75CCC9CC}"/>
              </a:ext>
            </a:extLst>
          </p:cNvPr>
          <p:cNvSpPr txBox="1">
            <a:spLocks/>
          </p:cNvSpPr>
          <p:nvPr/>
        </p:nvSpPr>
        <p:spPr>
          <a:xfrm>
            <a:off x="-64355" y="1913582"/>
            <a:ext cx="1567030" cy="1781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смертность</a:t>
            </a:r>
            <a:endParaRPr lang="ru-KZ" sz="1050" b="0" kern="0" dirty="0"/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BD4876E6-8EAC-87EE-23CC-645D652367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9218835"/>
              </p:ext>
            </p:extLst>
          </p:nvPr>
        </p:nvGraphicFramePr>
        <p:xfrm>
          <a:off x="139700" y="3538329"/>
          <a:ext cx="3572817" cy="282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2223FF29-AD6C-C208-D6E3-8046A4E94D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3860434"/>
              </p:ext>
            </p:extLst>
          </p:nvPr>
        </p:nvGraphicFramePr>
        <p:xfrm>
          <a:off x="833851" y="1428749"/>
          <a:ext cx="2686052" cy="179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EF485CB1-B1B5-04A2-8882-A5506B45C424}"/>
              </a:ext>
            </a:extLst>
          </p:cNvPr>
          <p:cNvGraphicFramePr>
            <a:graphicFrameLocks noGrp="1"/>
          </p:cNvGraphicFramePr>
          <p:nvPr/>
        </p:nvGraphicFramePr>
        <p:xfrm>
          <a:off x="3769730" y="1146865"/>
          <a:ext cx="1853830" cy="32584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38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 в целом</a:t>
                      </a:r>
                      <a:endParaRPr lang="ru-RU" sz="800" b="1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рнодобывающая промышленность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батывающая промышленность 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электро- и энергоснабжение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одоснабжение и удаление отходов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орговля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 и складир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слуги по проживанию и питани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нформация и связ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Финансы и страх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перации с недвижимость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ф. и научная деятель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дм. и вспом. обслужи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с. управление и соц. обеспеч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з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дравоохран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скусство и развлечени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индивидуаль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34FEBF5B-AA50-B928-BD49-99C4C258D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8505754"/>
              </p:ext>
            </p:extLst>
          </p:nvPr>
        </p:nvGraphicFramePr>
        <p:xfrm>
          <a:off x="5573319" y="1028700"/>
          <a:ext cx="2374341" cy="3441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2AA67179-090B-D13B-629A-C94E003940FA}"/>
              </a:ext>
            </a:extLst>
          </p:cNvPr>
          <p:cNvGraphicFramePr>
            <a:graphicFrameLocks noGrp="1"/>
          </p:cNvGraphicFramePr>
          <p:nvPr/>
        </p:nvGraphicFramePr>
        <p:xfrm>
          <a:off x="3766930" y="4579272"/>
          <a:ext cx="1856630" cy="1100113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. и распределение товаров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Бизнес-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ществен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F172C8DF-79E8-3235-B24D-F4DE29481B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5578918"/>
              </p:ext>
            </p:extLst>
          </p:nvPr>
        </p:nvGraphicFramePr>
        <p:xfrm>
          <a:off x="5573320" y="4541149"/>
          <a:ext cx="2567819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B3FA7FEE-1EF6-7DE1-1E56-DB218EF39AD7}"/>
              </a:ext>
            </a:extLst>
          </p:cNvPr>
          <p:cNvGraphicFramePr>
            <a:graphicFrameLocks noGrp="1"/>
          </p:cNvGraphicFramePr>
          <p:nvPr/>
        </p:nvGraphicFramePr>
        <p:xfrm>
          <a:off x="3766930" y="5873048"/>
          <a:ext cx="1856630" cy="451538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Реальный сектор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фера услуг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FA473942-4918-67B4-7058-03EE1D7863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9857232"/>
              </p:ext>
            </p:extLst>
          </p:nvPr>
        </p:nvGraphicFramePr>
        <p:xfrm>
          <a:off x="5573320" y="5834928"/>
          <a:ext cx="2845123" cy="489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48C5F3EC-CA48-E4F0-31E3-BB3743A24B41}"/>
              </a:ext>
            </a:extLst>
          </p:cNvPr>
          <p:cNvGraphicFramePr>
            <a:graphicFrameLocks noGrp="1"/>
          </p:cNvGraphicFramePr>
          <p:nvPr/>
        </p:nvGraphicFramePr>
        <p:xfrm>
          <a:off x="8412656" y="1146864"/>
          <a:ext cx="1091810" cy="38169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</a:tblGrid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E772A63C-F54D-4260-CC53-643775B9B6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0400578"/>
              </p:ext>
            </p:extLst>
          </p:nvPr>
        </p:nvGraphicFramePr>
        <p:xfrm>
          <a:off x="9442141" y="1009649"/>
          <a:ext cx="2650800" cy="4001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31E8009-2DA5-633C-C65E-73253B66E4FB}"/>
              </a:ext>
            </a:extLst>
          </p:cNvPr>
          <p:cNvGraphicFramePr>
            <a:graphicFrameLocks noGrp="1"/>
          </p:cNvGraphicFramePr>
          <p:nvPr/>
        </p:nvGraphicFramePr>
        <p:xfrm>
          <a:off x="8412656" y="5143169"/>
          <a:ext cx="1091810" cy="118142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егаполис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Юг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апад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вер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25787911-8A3A-AA94-8572-7AD62F8FD4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9916976"/>
              </p:ext>
            </p:extLst>
          </p:nvPr>
        </p:nvGraphicFramePr>
        <p:xfrm>
          <a:off x="9446764" y="5086350"/>
          <a:ext cx="2655471" cy="1261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F10E435D-72B4-284E-42FD-3FC630AF4FE8}"/>
              </a:ext>
            </a:extLst>
          </p:cNvPr>
          <p:cNvSpPr txBox="1">
            <a:spLocks/>
          </p:cNvSpPr>
          <p:nvPr/>
        </p:nvSpPr>
        <p:spPr>
          <a:xfrm>
            <a:off x="4236496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отраслям</a:t>
            </a:r>
            <a:endParaRPr lang="ru-KZ" sz="1600" b="0" kern="0" dirty="0"/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8FD1C07A-06D5-2425-08E8-4ED1E8C741CD}"/>
              </a:ext>
            </a:extLst>
          </p:cNvPr>
          <p:cNvSpPr txBox="1">
            <a:spLocks/>
          </p:cNvSpPr>
          <p:nvPr/>
        </p:nvSpPr>
        <p:spPr>
          <a:xfrm>
            <a:off x="8490444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регионам</a:t>
            </a:r>
            <a:endParaRPr lang="ru-KZ" sz="1600" b="0" kern="0" dirty="0"/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E87A9BF5-83AD-D71A-9233-87D1B1029AD2}"/>
              </a:ext>
            </a:extLst>
          </p:cNvPr>
          <p:cNvCxnSpPr>
            <a:cxnSpLocks/>
          </p:cNvCxnSpPr>
          <p:nvPr/>
        </p:nvCxnSpPr>
        <p:spPr>
          <a:xfrm>
            <a:off x="3766930" y="45010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B71283FF-F7BC-55F0-1B49-E4B37B23CC73}"/>
              </a:ext>
            </a:extLst>
          </p:cNvPr>
          <p:cNvCxnSpPr>
            <a:cxnSpLocks/>
          </p:cNvCxnSpPr>
          <p:nvPr/>
        </p:nvCxnSpPr>
        <p:spPr>
          <a:xfrm flipV="1">
            <a:off x="3597965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535D5220-49AF-6E6F-1DC5-2D137809B969}"/>
              </a:ext>
            </a:extLst>
          </p:cNvPr>
          <p:cNvSpPr txBox="1">
            <a:spLocks/>
          </p:cNvSpPr>
          <p:nvPr/>
        </p:nvSpPr>
        <p:spPr>
          <a:xfrm>
            <a:off x="111756" y="322493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годам</a:t>
            </a:r>
            <a:endParaRPr lang="ru-KZ" sz="1600" b="0" kern="0" dirty="0"/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7AE92CDF-C647-B668-0673-50CB7F15AF93}"/>
              </a:ext>
            </a:extLst>
          </p:cNvPr>
          <p:cNvCxnSpPr>
            <a:cxnSpLocks/>
          </p:cNvCxnSpPr>
          <p:nvPr/>
        </p:nvCxnSpPr>
        <p:spPr>
          <a:xfrm>
            <a:off x="3766930" y="57583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D692DAED-AD6C-7CAC-60AB-F1A788B0928F}"/>
              </a:ext>
            </a:extLst>
          </p:cNvPr>
          <p:cNvCxnSpPr>
            <a:cxnSpLocks/>
          </p:cNvCxnSpPr>
          <p:nvPr/>
        </p:nvCxnSpPr>
        <p:spPr>
          <a:xfrm>
            <a:off x="8412656" y="505349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EC1AD4B1-CD6D-7FE6-A1EA-0102FBEF73F0}"/>
              </a:ext>
            </a:extLst>
          </p:cNvPr>
          <p:cNvCxnSpPr>
            <a:cxnSpLocks/>
          </p:cNvCxnSpPr>
          <p:nvPr/>
        </p:nvCxnSpPr>
        <p:spPr>
          <a:xfrm flipV="1">
            <a:off x="8255690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F4B654A-5767-E45A-1579-667D3452C102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694929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212709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145E06-EE29-3815-8447-FCC204D835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DFC91AC-CC1E-5594-BF57-AEF2E648C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выводы (1 из 3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BAF699B-492A-F9B3-F4F2-99594C85F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A04FC5-F2BC-98EB-B7E8-19B26E61A670}"/>
              </a:ext>
            </a:extLst>
          </p:cNvPr>
          <p:cNvSpPr txBox="1"/>
          <p:nvPr/>
        </p:nvSpPr>
        <p:spPr>
          <a:xfrm>
            <a:off x="256032" y="822960"/>
            <a:ext cx="11679936" cy="51552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гноз потребности в наемных работниках, разработанный на период 2025-2035 годах на базе ИС «Единая система учета трудовых договоров» с применением макроэкономического моделирования, предполагает, что суммарная потребность на этот период оценивается в 2 млн 977 тыс. человек в базовом сценарии, 3 млн 864 тыс. человек – в оптимистическом сценарии и 2 млн 123 тыс. человек – в пессимистическом сценарии. </a:t>
            </a:r>
            <a:endParaRPr lang="ru-KZ" sz="14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этих условиях в базовом сценарии ожидается, что численность рабочей силы к 2030 году достигнет 10 млн 187 тыс. человек (+5,1%, или 498 тыс. человек к 2025 году), численность занятых – 9 млн 913 тыс. человек (+5,1%, или 475 тыс. человек), в том числе наемных работников – 7 млн 775 тыс. человек (+9,2%, или 656 тыс. человек), иных категорий занятых – 1 млн 938 тыс. человек (-8,5%, или 181 тыс. человек), численность безработного населения – 474 тыс. человек (+5,1%, или 23 тыс. человек)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2035 году ожидается рост численности рабочей силы до 10 млн 848 тыс. человек (12%, или 1 млн 160 тыс. человек к 2025 году), численность занятого населения – до 10 млн 344 тыс. человек (+12%, или 1 млн 106 тыс. человек), в том числе наемных работников – до 8 млн 575 тыс. человек (+20,4%, или 1 млн 456 тыс. человек), иных категорий занятых – снижение до 1 млн 769 тыс. человек (-16,5%, или 350 тыс. человек), а количество безработных вырастет до 504 тыс. человек (+11,9%, или 54 тыс. человек). Уровень безработицы в данном сценарии составляет 4,7%, снижаясь до 4,6% к 2035 году. </a:t>
            </a:r>
            <a:endParaRPr lang="ru-KZ" sz="14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оптимистическом сценарии численность рабочей силы к 2030 году достигнет 10 млн 338 тыс. человек (+506 тыс. человек к 2025 году), а к 2035 году – чуть более 11 млн человек (+1 млн 177 тыс. человек). Численность наемных работников к 2030 году вырастет до 8 млн 183 тыс. человек, к 2035 году – до 9 млн 462 тыс. человек, иных категорий занятых – сократится до 1 млн 710 тыс. и 1 млн 118 тыс. человек соответственно. Соответственно, численность занятых вырастет до 9 млн 893 тыс. человек в 2030 году и до 10 млн 580 тыс. человек – в 2035 году. В этих условиях количество безработного населения снизиться к 2030 году до 445 тыс. человек, к 2035 году – до 429 тыс. человек, а ожидаемый уровень безработицы составит 4,3% и 3,9% соответственно. 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пессимистическом сценарии численность рабочей силы составил в 2030 году 10 млн 86 тыс. человек, в 2035 году – 10 млн 741 тыс. человек. Численность наемных работников вырастет до 7 млн 426 тыс. в 2030 году и до 7 млн 720 тыс. человек в 2035 году, иных категорий занятых – до 2 млн 95 тыс. и 2 млн 323 тыс. человек соответственно. Таким образом, численность занятого населения достигнет в 2030 году 9 млн 521 тыс. человек, в 2035 году – 10 млн 43 тыс. человек. В этих условиях количество безработного населения в 2030 году составит 565 тыс. человек, что соответствует уровню безработицы в 5,6%, а в 2035 году ожидается 698 тыс. человек безработного населения и уровень безработицы в 6,5%. </a:t>
            </a:r>
            <a:endParaRPr lang="ru-KZ" sz="1400" dirty="0"/>
          </a:p>
        </p:txBody>
      </p:sp>
    </p:spTree>
    <p:extLst>
      <p:ext uri="{BB962C8B-B14F-4D97-AF65-F5344CB8AC3E}">
        <p14:creationId xmlns:p14="http://schemas.microsoft.com/office/powerpoint/2010/main" val="3886599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09B61-AEC0-AA9C-6DF6-18228DD6B0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093A77-82D6-8564-FBAC-8B5291363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89C648E-DDEC-5196-B4D2-A9A77689A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5FA9FE5-63DF-7CEC-AAC0-1786FE0374B5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74514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BEB5C05-89A3-1902-8386-E3F9DAA006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686321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5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6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9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6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4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2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6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5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9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0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0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8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0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2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2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8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9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 6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4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 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0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1 04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06448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FF1DD-8A0A-6A26-DD77-2F87871B65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9E79EF-3C09-F6C2-D1FF-64712FFEB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D508D99-F2EE-2322-35F7-550E3E65C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72B53DE-3698-87A0-692C-FF6FF5486F4D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803506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19FF0F1B-E66B-8724-6262-3AE9A6307E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814483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6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7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8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9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0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1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2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3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4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5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6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9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6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4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2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6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5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 9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0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0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7 8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0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7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2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2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8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9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 6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4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1 04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4436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4FA254-4026-5C12-0067-DC8527952A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52881C-E636-580C-E1A8-AED8D86F1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9F78FE3-572D-0239-D94F-D4549D324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8927A1E-A1B8-BFF5-59EB-AF2D7378F734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645526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D70D7FA1-3B7D-C8C9-95CD-5E779A57A2C0}"/>
              </a:ext>
            </a:extLst>
          </p:cNvPr>
          <p:cNvGraphicFramePr>
            <a:graphicFrameLocks noGrp="1"/>
          </p:cNvGraphicFramePr>
          <p:nvPr/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2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9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7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6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 39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3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 6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 1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 5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 6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 4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 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72091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7D00CA-C9D9-B65D-FBE6-4C9D04217F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63BBD8-7EFC-C1CE-BF24-C72ED3ABD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75997EB-999B-10FA-9F1E-0648F322B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342BA57-E981-5CD8-C7CC-E768693FE405}"/>
              </a:ext>
            </a:extLst>
          </p:cNvPr>
          <p:cNvSpPr txBox="1">
            <a:spLocks/>
          </p:cNvSpPr>
          <p:nvPr/>
        </p:nvSpPr>
        <p:spPr>
          <a:xfrm>
            <a:off x="71999" y="700391"/>
            <a:ext cx="699028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61AD69F2-F602-2D1E-D112-4EBD4D7505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709131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8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8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8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96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6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9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 8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9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58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0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 9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0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3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4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5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 1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 0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5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 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 9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8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2 5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43039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8FF0F9-FA6C-DE28-23D9-E60DDBF4E8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26A11B-15F7-7735-12BD-932BD37D3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3D14581-133B-8A78-CDE2-69D42959C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592FE56-5030-23C3-0208-6399204068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450056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83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89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88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3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96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6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9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 8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9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8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 5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 0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 99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 0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3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3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 4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0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51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7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6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5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 1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1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9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5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6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2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3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5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 0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0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 5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9 4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5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 2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7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 5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 7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 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 3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 0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2 5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ACDD3AF-C2AE-1CFB-CC7E-5C308C38DA08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651762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8228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7545F4-B2EE-DD12-11E8-396548B270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E92646-F850-85CD-4F47-D5E91D0C8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85A89CE-A96E-2B05-801A-DC2D563A7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C6C432A2-6BC0-5F94-60EA-4C8787ED96B3}"/>
              </a:ext>
            </a:extLst>
          </p:cNvPr>
          <p:cNvGraphicFramePr>
            <a:graphicFrameLocks noGrp="1"/>
          </p:cNvGraphicFramePr>
          <p:nvPr/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 3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 0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 3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5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 4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 5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 7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 4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 7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 9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1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 6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 0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1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 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 4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7BF419E-BD53-8B66-DBBC-0B5C4F176706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15565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5857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BEB1D8-84F6-2A33-6111-603A3E709C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450003-F2E4-43D5-B8FB-C0840561F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25BB03A-85A3-E066-2D4A-6A9BA1DAB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7D0B064-E5A2-2322-9B6F-991C6C2FC5E2}"/>
              </a:ext>
            </a:extLst>
          </p:cNvPr>
          <p:cNvSpPr txBox="1">
            <a:spLocks/>
          </p:cNvSpPr>
          <p:nvPr/>
        </p:nvSpPr>
        <p:spPr>
          <a:xfrm>
            <a:off x="71999" y="700391"/>
            <a:ext cx="8186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5312453-0530-D92F-72AE-E3D0856F67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11443"/>
              </p:ext>
            </p:extLst>
          </p:nvPr>
        </p:nvGraphicFramePr>
        <p:xfrm>
          <a:off x="175097" y="1070044"/>
          <a:ext cx="11879993" cy="5399991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6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1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09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2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4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26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1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3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0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5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9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5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10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9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1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9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7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7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2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5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6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6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6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1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8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0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8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77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3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7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6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0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0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9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0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 5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 7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9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 8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5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3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 4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21346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AD864B-2981-1CBF-55BB-FACA21562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C46A7C-7A8E-6CC0-F908-6F0CD51B5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A154E26-1C32-20D2-F693-9F591F332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A532C47A-7F2B-0658-3EE8-36AEF130B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641671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2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2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4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26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15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36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 02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5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10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36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93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1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93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7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8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28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4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 60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4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1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7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4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5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9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049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77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 70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 3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 3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 8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 2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 4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 9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 5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3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 6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1 48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EAF0EE0-3A8D-11CD-CA98-C26E0FED6B63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8108962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5505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AF6E78-1397-A1D4-4D51-26630DC16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D83454-A521-0555-2C55-10C1BAA74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86866DE-D8B3-D808-1BB6-28B5C8D89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BFFBC38-266F-48DE-75FF-1315E888065C}"/>
              </a:ext>
            </a:extLst>
          </p:cNvPr>
          <p:cNvGraphicFramePr>
            <a:graphicFrameLocks noGrp="1"/>
          </p:cNvGraphicFramePr>
          <p:nvPr/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 1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 8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 0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99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6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 8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 3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 6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3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 2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2 6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5037C9A-C149-B95F-DD65-62D30EC6CA41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933864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Квалифицированный труд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527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A7292-01D2-CD89-B721-503429962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2FA81943-EDB6-BC9A-A3BC-9C6DB4E1B6F0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ЧАСТЬ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I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ЧИЕ ПРОФЕСИИ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37143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81412A-4A2F-6577-CA6F-0AA55D8CED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BCA8EE-6975-3413-72D6-B70E3A498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выводы (2 из 3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619C419-9A2B-68ED-9BF1-E06C406AF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E498E3-F8F0-0277-6B6E-D361126037FA}"/>
              </a:ext>
            </a:extLst>
          </p:cNvPr>
          <p:cNvSpPr txBox="1"/>
          <p:nvPr/>
        </p:nvSpPr>
        <p:spPr>
          <a:xfrm>
            <a:off x="256032" y="822960"/>
            <a:ext cx="11679936" cy="581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базовом сценарии, спрос на наемных работников в 2025-2035 годах оценивается в количестве 2 млн 977 тыс. человек и на 28% (825 тыс. человек) будет формироваться в реальном секторе, а на сферу услуг будет приходится 72%, или 2 млн 153 тыс. человек. Из сферы услуг основная часть спроса, как ожидается, будет предъявляться со стороны сферы общественных услуг (864 тыс. человек, или 29% совокупного спроса) в основном со стороны образования (448 тыс. человек) и здравоохранения (240 тыс. человек). Кроме того, порядка 21% совокупного спроса, или 634 тыс. человек, будет приходится на сферу бизнес-услуг и относится к сферам административного и вспомогательного обслуживания (170 тыс. человек), финансовой и страховой деятельности (166 тыс. человек) и профессиональной и научной деятельности (160 тыс. человек)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зрезе крупных отраслей также следует отметить, что на сферу транспортировки и распределения товаров (торговля, транспорт и складирование, услуги по проживанию и питанию), будет приходится порядка 16% совокупного спроса, или 489 тыс. человек. Кроме того, на промышленность будет приходится 13% совокупного спроса, или 386 тыс. человек, на сельское хозяйство – 7% или 222 тыс. человек, строительство – 7% или 217 тыс. человек, сферу прочих услуг (к которым относятся искусство и развлечения, а также прочие индивидуальные услуги) – 6% или 165 тыс. человек. В промышленности, в свою очередь, основной спрос будет предъявляться со стороны обрабатывающей промышленности, где он оценивается в количестве 231 тыс. человек, в то время как в горнодобывающей промышленности спрос ожидается в количестве 64 тыс. человек, в сфере энергоснабжения – в количестве 60 тыс. человек и в сфере водоснабжения – в количестве 30 тыс. человек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региональном разрезе, основная часть спроса на кадры (29%, или 869 тыс. человек) будет формироваться в мегаполисах. На южные регионы будет приходится 22% спроса, или 668 тыс. человек, центральные и восточные регионы – 20%, или 588 тыс. человек. В свою очередь, на западные регионы будет приходится 16% спроса, или 482 тыс. человек, северные – 12%, или 370 тыс. человек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По прогнозам, порядка 16% спроса будет формироваться за счет г. Алматы, где потребность в кадрах на 2025-2035 годы оценивается в количестве 464 тыс. человек. Кроме того, существенные объемы спроса ожидаются в г. Астана (263 тыс. человек, или 9% совокупного спроса), Карагандинской (192 тыс. человек, или 6%) и Алматинской (172 тыс. человек, или 6%) областях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разрезе лет прогноза ожидается, что в 2025 году общий спрос на наемную рабочую силу составит 239 тыс. человек, в 2026 году – 260 тыс. человек. При этом в течение 2028-2031 годов ожидается некоторое сокращение спроса, связанное с возобновлением повышения пенсионного возраста для женщин. В начале этого периода спрос, как ожидается, сократится до 239 тыс. человек, а к концу – вырастет до 259 тыс. человек. По завершении периода повышения пенсионного возраста к 2032 году объем спроса вырастет до 295 тыс. человек, а к 2035 году достигнет 316 тыс. человек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48869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105AD3-386F-ACAA-7ED4-D0D5EF636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5D350BB-6CB6-EF36-8F30-980ECCDED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7CD1DE6-EB56-FDF3-C982-662FE0506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F33ACC6-AA84-F0E9-2FA3-629F87F82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992838"/>
              </p:ext>
            </p:extLst>
          </p:nvPr>
        </p:nvGraphicFramePr>
        <p:xfrm>
          <a:off x="237487" y="1566863"/>
          <a:ext cx="2717513" cy="2980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9513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 в целом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1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батывающая промышленность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орговля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en-US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~</a:t>
                      </a:r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E1E83CD-A3C0-755D-4020-D6183C66A88A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09A89FF-B862-ECE2-10D2-76518FC50EC8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DF77D9F-1073-4C98-9AC9-335181523EA2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4948DF49-42BA-B308-6E91-E60C3AD445A5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813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F3DE75D6-31B6-34BB-4091-DB27B887D6E5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1 068 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14F8307B-6FC3-BE19-1D69-1DA70E31DF55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584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66B1EFA-80F3-6A9B-EBC3-1E63FA154B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1096413"/>
              </p:ext>
            </p:extLst>
          </p:nvPr>
        </p:nvGraphicFramePr>
        <p:xfrm>
          <a:off x="2915927" y="1471614"/>
          <a:ext cx="2881482" cy="316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1F57384D-FF55-C8E4-432C-DB39EC4A1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60144572"/>
              </p:ext>
            </p:extLst>
          </p:nvPr>
        </p:nvGraphicFramePr>
        <p:xfrm>
          <a:off x="6038980" y="1471614"/>
          <a:ext cx="2891350" cy="315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D5825A1C-8EEC-3633-3F68-8F6245368C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5860274"/>
              </p:ext>
            </p:extLst>
          </p:nvPr>
        </p:nvGraphicFramePr>
        <p:xfrm>
          <a:off x="9171901" y="1471614"/>
          <a:ext cx="3010854" cy="3119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593EE59C-8E9B-71C1-1D03-6DF524360A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493315"/>
              </p:ext>
            </p:extLst>
          </p:nvPr>
        </p:nvGraphicFramePr>
        <p:xfrm>
          <a:off x="581406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en-US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~</a:t>
                      </a:r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2C6CB2AD-FA47-BC7A-9646-F9C1D02D0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728707"/>
              </p:ext>
            </p:extLst>
          </p:nvPr>
        </p:nvGraphicFramePr>
        <p:xfrm>
          <a:off x="896112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</a:t>
                      </a:r>
                      <a:r>
                        <a:rPr lang="en-US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~</a:t>
                      </a:r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A3CF925B-A535-84DF-3388-E26D7305D5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771234"/>
              </p:ext>
            </p:extLst>
          </p:nvPr>
        </p:nvGraphicFramePr>
        <p:xfrm>
          <a:off x="224997" y="4748237"/>
          <a:ext cx="2736000" cy="11001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ировка и распределение товар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Бизнес-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ществен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7B52A6EB-DFF4-2F9E-D1F5-0D140C55D1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7751847"/>
              </p:ext>
            </p:extLst>
          </p:nvPr>
        </p:nvGraphicFramePr>
        <p:xfrm>
          <a:off x="2915927" y="4710114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B193A2F6-53D5-4F38-16CA-B6E8ACDE8D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4261954"/>
              </p:ext>
            </p:extLst>
          </p:nvPr>
        </p:nvGraphicFramePr>
        <p:xfrm>
          <a:off x="6038980" y="4710114"/>
          <a:ext cx="293992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DB0A46FA-ED05-C3CD-8A04-2AEC25210B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6772801"/>
              </p:ext>
            </p:extLst>
          </p:nvPr>
        </p:nvGraphicFramePr>
        <p:xfrm>
          <a:off x="9171901" y="4710114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C0ED85BB-8335-89BB-A55E-2B0162296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579838"/>
              </p:ext>
            </p:extLst>
          </p:nvPr>
        </p:nvGraphicFramePr>
        <p:xfrm>
          <a:off x="5814068" y="4738687"/>
          <a:ext cx="269875" cy="11185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F21B705F-9D40-CE93-998E-DA0CE00230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417972"/>
              </p:ext>
            </p:extLst>
          </p:nvPr>
        </p:nvGraphicFramePr>
        <p:xfrm>
          <a:off x="8961129" y="4719637"/>
          <a:ext cx="263612" cy="1135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612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3F5E4FE0-7CF4-36B9-F53B-5B907F510E2F}"/>
              </a:ext>
            </a:extLst>
          </p:cNvPr>
          <p:cNvCxnSpPr/>
          <p:nvPr/>
        </p:nvCxnSpPr>
        <p:spPr>
          <a:xfrm>
            <a:off x="228600" y="46482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9BECC4E0-FF45-80B0-66A8-3589517EC842}"/>
              </a:ext>
            </a:extLst>
          </p:cNvPr>
          <p:cNvCxnSpPr/>
          <p:nvPr/>
        </p:nvCxnSpPr>
        <p:spPr>
          <a:xfrm>
            <a:off x="228600" y="5941979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69447A81-A2CA-23DE-2739-50E4D3807F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97498"/>
              </p:ext>
            </p:extLst>
          </p:nvPr>
        </p:nvGraphicFramePr>
        <p:xfrm>
          <a:off x="224997" y="6042014"/>
          <a:ext cx="2736000" cy="358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Реальный секто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фера услу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79AAA1B4-8B9F-B86D-68F5-8D2C898918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6272432"/>
              </p:ext>
            </p:extLst>
          </p:nvPr>
        </p:nvGraphicFramePr>
        <p:xfrm>
          <a:off x="2915927" y="6003893"/>
          <a:ext cx="2887973" cy="396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2528715C-6A4E-D440-120C-B25F6297E1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8387667"/>
              </p:ext>
            </p:extLst>
          </p:nvPr>
        </p:nvGraphicFramePr>
        <p:xfrm>
          <a:off x="6038980" y="6003892"/>
          <a:ext cx="3088200" cy="396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3B4D8251-5145-440E-B9E3-8DB4EBC3C2F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1852421"/>
              </p:ext>
            </p:extLst>
          </p:nvPr>
        </p:nvGraphicFramePr>
        <p:xfrm>
          <a:off x="9171901" y="6003892"/>
          <a:ext cx="3010854" cy="396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CF5269FE-9394-2B35-50AF-C797B96659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929169"/>
              </p:ext>
            </p:extLst>
          </p:nvPr>
        </p:nvGraphicFramePr>
        <p:xfrm>
          <a:off x="5814068" y="6032464"/>
          <a:ext cx="269875" cy="3611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805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805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graphicFrame>
        <p:nvGraphicFramePr>
          <p:cNvPr id="36" name="Таблица 35">
            <a:extLst>
              <a:ext uri="{FF2B5EF4-FFF2-40B4-BE49-F238E27FC236}">
                <a16:creationId xmlns:a16="http://schemas.microsoft.com/office/drawing/2014/main" id="{A49E1D3B-5A39-353C-8911-9DE3D7235E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279890"/>
              </p:ext>
            </p:extLst>
          </p:nvPr>
        </p:nvGraphicFramePr>
        <p:xfrm>
          <a:off x="8961128" y="6013414"/>
          <a:ext cx="269875" cy="3802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90121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90121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97F3800E-7B2D-6DF2-ACE2-5438A9FEDD0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16792946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62964D-F7E0-F448-AD50-1FC431C3CE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D4AF2F-3A1A-495B-19F4-A5AC9F120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D5541B0-E8D7-405A-0744-F8253AD86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4987B71-4D50-7D0C-3CD6-DAB27C356A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6750"/>
              </p:ext>
            </p:extLst>
          </p:nvPr>
        </p:nvGraphicFramePr>
        <p:xfrm>
          <a:off x="491169" y="1566861"/>
          <a:ext cx="2473201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  <a:gridCol w="289581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бай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мол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тюб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лмат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тыр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амбыл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етыс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араган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останай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ызылор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ангист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авлодар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урке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лыта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80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стана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лмат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Шымкент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DB72342-7FA5-D745-9619-160934F3085F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7EBB7E2-49C8-D63C-CB56-ADD79DF82893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D4E3C15-2418-243B-4D6D-D7C550AC6D03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35C8B634-3CB0-6C8D-F44F-344B17FD4F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9813954"/>
              </p:ext>
            </p:extLst>
          </p:nvPr>
        </p:nvGraphicFramePr>
        <p:xfrm>
          <a:off x="2915927" y="1440181"/>
          <a:ext cx="2882893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72C1A073-BF1D-E210-4788-75E4AD350F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1649120"/>
              </p:ext>
            </p:extLst>
          </p:nvPr>
        </p:nvGraphicFramePr>
        <p:xfrm>
          <a:off x="6038980" y="1440181"/>
          <a:ext cx="2853560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F05B4C4-35B5-CE3E-0172-50DDDEB4D9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8040168"/>
              </p:ext>
            </p:extLst>
          </p:nvPr>
        </p:nvGraphicFramePr>
        <p:xfrm>
          <a:off x="9171901" y="1440181"/>
          <a:ext cx="2913419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A56E48B1-CB62-36E0-F65E-7AF6AC5232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365094"/>
              </p:ext>
            </p:extLst>
          </p:nvPr>
        </p:nvGraphicFramePr>
        <p:xfrm>
          <a:off x="5814068" y="1566861"/>
          <a:ext cx="269875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6C958B84-A506-499A-6AEE-6E77366E59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393864"/>
              </p:ext>
            </p:extLst>
          </p:nvPr>
        </p:nvGraphicFramePr>
        <p:xfrm>
          <a:off x="8961128" y="1566860"/>
          <a:ext cx="269875" cy="336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1E841BBF-66A4-FCBB-40D4-AC16AD63CF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655917"/>
              </p:ext>
            </p:extLst>
          </p:nvPr>
        </p:nvGraphicFramePr>
        <p:xfrm>
          <a:off x="491169" y="5234620"/>
          <a:ext cx="2473696" cy="10899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5696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ж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альные и восточ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659F09EB-1C2D-20DD-3B6C-7305670098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7392123"/>
              </p:ext>
            </p:extLst>
          </p:nvPr>
        </p:nvGraphicFramePr>
        <p:xfrm>
          <a:off x="2915927" y="5196497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953DB1B2-2327-6068-9786-23B709C32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6982533"/>
              </p:ext>
            </p:extLst>
          </p:nvPr>
        </p:nvGraphicFramePr>
        <p:xfrm>
          <a:off x="6038980" y="5196497"/>
          <a:ext cx="290817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42A9EDC2-FA19-0D4F-AEB8-A7C60587BD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9472231"/>
              </p:ext>
            </p:extLst>
          </p:nvPr>
        </p:nvGraphicFramePr>
        <p:xfrm>
          <a:off x="9171901" y="5196497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8D39A59B-F6FB-B6C4-C660-B07A02821C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175823"/>
              </p:ext>
            </p:extLst>
          </p:nvPr>
        </p:nvGraphicFramePr>
        <p:xfrm>
          <a:off x="5814068" y="5225069"/>
          <a:ext cx="269875" cy="1118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40CFF87F-F7A7-408E-9522-AF6EC5DDC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373692"/>
              </p:ext>
            </p:extLst>
          </p:nvPr>
        </p:nvGraphicFramePr>
        <p:xfrm>
          <a:off x="8961128" y="5234620"/>
          <a:ext cx="269875" cy="11090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1805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99DD57B-1E04-8C0B-270A-55D4D7220500}"/>
              </a:ext>
            </a:extLst>
          </p:cNvPr>
          <p:cNvCxnSpPr/>
          <p:nvPr/>
        </p:nvCxnSpPr>
        <p:spPr>
          <a:xfrm>
            <a:off x="228600" y="51054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A02B2069-84DC-04C7-0F4B-A7DAFEB626BC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</a:t>
            </a:r>
            <a:endParaRPr lang="ru-KZ" sz="1800" kern="0" dirty="0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820BEF98-9D11-AF7B-A5EE-35A9CE5D39C5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813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E361B561-E84B-FE92-B823-10DD3DD98686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1 068 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C9C375E2-8472-5D74-DF81-0364B11821C2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584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4282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5F6988-38B1-34BA-5828-7214DE6DFF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7D9FEC-6402-8779-90A8-ECBCED77B5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год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B9073-6CF5-0450-9C84-A917135D8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94497FC-06F2-D854-82F0-B2D4BF46C867}"/>
              </a:ext>
            </a:extLst>
          </p:cNvPr>
          <p:cNvGraphicFramePr>
            <a:graphicFrameLocks noGrp="1"/>
          </p:cNvGraphicFramePr>
          <p:nvPr/>
        </p:nvGraphicFramePr>
        <p:xfrm>
          <a:off x="237487" y="1566862"/>
          <a:ext cx="2624829" cy="45907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4829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417341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2F296EC-5132-99BD-68C5-3107976E1E53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2D76814-9F54-7516-883F-2C5AEAFEC052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D8D186F-AF17-EACA-555C-1D3F191D156B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58896B65-4501-60C0-5FE0-399D15CA8E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5691352"/>
              </p:ext>
            </p:extLst>
          </p:nvPr>
        </p:nvGraphicFramePr>
        <p:xfrm>
          <a:off x="2915927" y="1410511"/>
          <a:ext cx="2628839" cy="4844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C85697D1-5861-E1F1-ADE7-F29F1E6519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3389234"/>
              </p:ext>
            </p:extLst>
          </p:nvPr>
        </p:nvGraphicFramePr>
        <p:xfrm>
          <a:off x="5598377" y="1410819"/>
          <a:ext cx="3331953" cy="4820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9AD4967C-D120-F2DE-EE40-A14325D8EF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0953329"/>
              </p:ext>
            </p:extLst>
          </p:nvPr>
        </p:nvGraphicFramePr>
        <p:xfrm>
          <a:off x="9171901" y="1411430"/>
          <a:ext cx="2715299" cy="4771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C9C29ED-8DAD-0566-6832-492DEDCF9ED4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084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</a:t>
            </a:r>
            <a:endParaRPr lang="ru-KZ" sz="1800" kern="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2B9E4FA4-B955-46F3-01C8-C150C9F1D9EB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813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C246CFAB-9C55-B4D8-821F-CA157232C1F0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1 068 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28C5C7A1-147A-819A-E42A-B4B5BAD35F79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584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2964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6AEB80-A255-99B3-790D-8C4AC9B0C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45D1F7-D192-6115-A735-4432A24D4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прос на кадры по замещению в 2025-2035 годах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811E721-612A-A6AE-E278-F0136D975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2E91FE7C-4474-2F20-5BA2-C1703B3335EB}"/>
              </a:ext>
            </a:extLst>
          </p:cNvPr>
          <p:cNvSpPr/>
          <p:nvPr/>
        </p:nvSpPr>
        <p:spPr>
          <a:xfrm>
            <a:off x="1204824" y="1194369"/>
            <a:ext cx="1975698" cy="304231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/>
              <a:t>437 тыс. человек</a:t>
            </a:r>
            <a:endParaRPr lang="ru-KZ" sz="140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0AA9131-F0DB-F228-0909-07DF72DE22C5}"/>
              </a:ext>
            </a:extLst>
          </p:cNvPr>
          <p:cNvSpPr txBox="1">
            <a:spLocks/>
          </p:cNvSpPr>
          <p:nvPr/>
        </p:nvSpPr>
        <p:spPr>
          <a:xfrm>
            <a:off x="-64355" y="2505075"/>
            <a:ext cx="1567030" cy="224824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пенсионный возраст</a:t>
            </a:r>
            <a:endParaRPr lang="ru-KZ" sz="1050" b="0" kern="0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BB86DD84-6E99-1610-2559-99636FD6F819}"/>
              </a:ext>
            </a:extLst>
          </p:cNvPr>
          <p:cNvSpPr txBox="1">
            <a:spLocks/>
          </p:cNvSpPr>
          <p:nvPr/>
        </p:nvSpPr>
        <p:spPr>
          <a:xfrm>
            <a:off x="-64355" y="1913582"/>
            <a:ext cx="1567030" cy="1781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r" defTabSz="914400"/>
            <a:r>
              <a:rPr lang="ru-RU" sz="1050" b="0" kern="0" dirty="0"/>
              <a:t>смертность</a:t>
            </a:r>
            <a:endParaRPr lang="ru-KZ" sz="1050" b="0" kern="0" dirty="0"/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CA2F9950-1CE0-AD43-F20B-ABAC6179B9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3202175"/>
              </p:ext>
            </p:extLst>
          </p:nvPr>
        </p:nvGraphicFramePr>
        <p:xfrm>
          <a:off x="139700" y="3538329"/>
          <a:ext cx="3572817" cy="2828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58A9838D-B465-FCBE-650C-1DF1C8BB7E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9957486"/>
              </p:ext>
            </p:extLst>
          </p:nvPr>
        </p:nvGraphicFramePr>
        <p:xfrm>
          <a:off x="833851" y="1428749"/>
          <a:ext cx="2686052" cy="179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DA821A9E-2A6A-2640-A8FF-9F7731FEFDFE}"/>
              </a:ext>
            </a:extLst>
          </p:cNvPr>
          <p:cNvGraphicFramePr>
            <a:graphicFrameLocks noGrp="1"/>
          </p:cNvGraphicFramePr>
          <p:nvPr/>
        </p:nvGraphicFramePr>
        <p:xfrm>
          <a:off x="3769730" y="1146865"/>
          <a:ext cx="1853830" cy="32584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38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 в целом</a:t>
                      </a:r>
                      <a:endParaRPr lang="ru-RU" sz="800" b="1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рнодобывающая промышленность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батывающая промышленность 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электро- и энергоснабжение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одоснабжение и удаление отходов</a:t>
                      </a:r>
                      <a:endParaRPr lang="ru-RU" sz="700" b="0" i="1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орговля 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 и складир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слуги по проживанию и питани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нформация и связ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Финансы и страх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перации с недвижимостью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ф. и научная деятель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дм. и вспом. обслужи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ос. управление и соц. обеспеч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разова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дравоохранение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Искусство и развлечени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индивидуаль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890E1EAB-C205-9760-D475-D8788D082B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1533474"/>
              </p:ext>
            </p:extLst>
          </p:nvPr>
        </p:nvGraphicFramePr>
        <p:xfrm>
          <a:off x="5573319" y="1028700"/>
          <a:ext cx="2374341" cy="3441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46AAE8DA-1490-1236-8870-009F64F24435}"/>
              </a:ext>
            </a:extLst>
          </p:cNvPr>
          <p:cNvGraphicFramePr>
            <a:graphicFrameLocks noGrp="1"/>
          </p:cNvGraphicFramePr>
          <p:nvPr/>
        </p:nvGraphicFramePr>
        <p:xfrm>
          <a:off x="3766930" y="4579272"/>
          <a:ext cx="1856630" cy="1100113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льское хозяй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мышленность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троительство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ранспорт. и распределение товаров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Бизнес-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Общественны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рочие услуги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74BC4A61-1C3F-3F84-F97F-3AF6A9EE9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3384783"/>
              </p:ext>
            </p:extLst>
          </p:nvPr>
        </p:nvGraphicFramePr>
        <p:xfrm>
          <a:off x="5573320" y="4541149"/>
          <a:ext cx="2567819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99206D6A-DC33-41B6-E27C-2C74F546213F}"/>
              </a:ext>
            </a:extLst>
          </p:cNvPr>
          <p:cNvGraphicFramePr>
            <a:graphicFrameLocks noGrp="1"/>
          </p:cNvGraphicFramePr>
          <p:nvPr/>
        </p:nvGraphicFramePr>
        <p:xfrm>
          <a:off x="3766930" y="5873048"/>
          <a:ext cx="1856630" cy="451538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5663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Реальный сектор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2576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фера услуг</a:t>
                      </a:r>
                      <a:endParaRPr lang="ru-RU" sz="9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FF3C7F32-8E30-1F86-BEAE-48AB21DD13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7875564"/>
              </p:ext>
            </p:extLst>
          </p:nvPr>
        </p:nvGraphicFramePr>
        <p:xfrm>
          <a:off x="5573320" y="5834928"/>
          <a:ext cx="2999180" cy="489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587D9AB4-D680-B206-F6F9-828E0600BFBA}"/>
              </a:ext>
            </a:extLst>
          </p:cNvPr>
          <p:cNvGraphicFramePr>
            <a:graphicFrameLocks noGrp="1"/>
          </p:cNvGraphicFramePr>
          <p:nvPr/>
        </p:nvGraphicFramePr>
        <p:xfrm>
          <a:off x="8412656" y="1146864"/>
          <a:ext cx="1091810" cy="38169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</a:tblGrid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90848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9E18E508-5343-23D1-243F-ED177DBE46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3685995"/>
              </p:ext>
            </p:extLst>
          </p:nvPr>
        </p:nvGraphicFramePr>
        <p:xfrm>
          <a:off x="9442141" y="1009649"/>
          <a:ext cx="2650800" cy="4001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2F5E7A0-80A3-EFD3-0D11-E3971556FBBF}"/>
              </a:ext>
            </a:extLst>
          </p:cNvPr>
          <p:cNvGraphicFramePr>
            <a:graphicFrameLocks noGrp="1"/>
          </p:cNvGraphicFramePr>
          <p:nvPr/>
        </p:nvGraphicFramePr>
        <p:xfrm>
          <a:off x="8412656" y="5143169"/>
          <a:ext cx="1091810" cy="118142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</a:tblGrid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Мегаполисы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Юг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Запад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3628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u="none" strike="noStrike" cap="none" dirty="0">
                          <a:solidFill>
                            <a:srgbClr val="0A1121"/>
                          </a:solidFill>
                          <a:effectLst/>
                          <a:sym typeface="Arial"/>
                        </a:rPr>
                        <a:t>Север</a:t>
                      </a:r>
                      <a:endParaRPr lang="ru-RU" sz="800" b="0" i="0" u="none" strike="noStrike" cap="none" dirty="0">
                        <a:solidFill>
                          <a:srgbClr val="0A112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B16CAA8A-DC1C-6893-2A00-FDB4B48AD2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0736560"/>
              </p:ext>
            </p:extLst>
          </p:nvPr>
        </p:nvGraphicFramePr>
        <p:xfrm>
          <a:off x="9446764" y="5086350"/>
          <a:ext cx="2655471" cy="12610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4FC320B1-F4BA-23FE-7B36-909E9361DB9C}"/>
              </a:ext>
            </a:extLst>
          </p:cNvPr>
          <p:cNvSpPr txBox="1">
            <a:spLocks/>
          </p:cNvSpPr>
          <p:nvPr/>
        </p:nvSpPr>
        <p:spPr>
          <a:xfrm>
            <a:off x="4236496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отраслям</a:t>
            </a:r>
            <a:endParaRPr lang="ru-KZ" sz="1600" b="0" kern="0" dirty="0"/>
          </a:p>
        </p:txBody>
      </p: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14CFF119-BD41-4599-9533-744D11B699F8}"/>
              </a:ext>
            </a:extLst>
          </p:cNvPr>
          <p:cNvSpPr txBox="1">
            <a:spLocks/>
          </p:cNvSpPr>
          <p:nvPr/>
        </p:nvSpPr>
        <p:spPr>
          <a:xfrm>
            <a:off x="8490444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регионам</a:t>
            </a:r>
            <a:endParaRPr lang="ru-KZ" sz="1600" b="0" kern="0" dirty="0"/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B78446CD-B0AC-6540-E737-AE3C89B05764}"/>
              </a:ext>
            </a:extLst>
          </p:cNvPr>
          <p:cNvCxnSpPr>
            <a:cxnSpLocks/>
          </p:cNvCxnSpPr>
          <p:nvPr/>
        </p:nvCxnSpPr>
        <p:spPr>
          <a:xfrm>
            <a:off x="3766930" y="45010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232CDEB5-2EDB-8DB8-6CD8-2CF837720CAF}"/>
              </a:ext>
            </a:extLst>
          </p:cNvPr>
          <p:cNvCxnSpPr>
            <a:cxnSpLocks/>
          </p:cNvCxnSpPr>
          <p:nvPr/>
        </p:nvCxnSpPr>
        <p:spPr>
          <a:xfrm flipV="1">
            <a:off x="3597965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Заголовок 1">
            <a:extLst>
              <a:ext uri="{FF2B5EF4-FFF2-40B4-BE49-F238E27FC236}">
                <a16:creationId xmlns:a16="http://schemas.microsoft.com/office/drawing/2014/main" id="{6BBF1080-3B0D-857C-713B-0EE36C47D82C}"/>
              </a:ext>
            </a:extLst>
          </p:cNvPr>
          <p:cNvSpPr txBox="1">
            <a:spLocks/>
          </p:cNvSpPr>
          <p:nvPr/>
        </p:nvSpPr>
        <p:spPr>
          <a:xfrm>
            <a:off x="111756" y="322493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b="0" kern="0" dirty="0"/>
              <a:t>По годам</a:t>
            </a:r>
            <a:endParaRPr lang="ru-KZ" sz="1600" b="0" kern="0" dirty="0"/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8CE1977B-E99A-6067-2153-577794C47F68}"/>
              </a:ext>
            </a:extLst>
          </p:cNvPr>
          <p:cNvCxnSpPr>
            <a:cxnSpLocks/>
          </p:cNvCxnSpPr>
          <p:nvPr/>
        </p:nvCxnSpPr>
        <p:spPr>
          <a:xfrm>
            <a:off x="3766930" y="575834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D4D8D4E8-1ACD-E67D-8201-5AF536FE1207}"/>
              </a:ext>
            </a:extLst>
          </p:cNvPr>
          <p:cNvCxnSpPr>
            <a:cxnSpLocks/>
          </p:cNvCxnSpPr>
          <p:nvPr/>
        </p:nvCxnSpPr>
        <p:spPr>
          <a:xfrm>
            <a:off x="8412656" y="5053496"/>
            <a:ext cx="3097143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81F3E2EA-E319-BCE3-9154-63AB1F6731F4}"/>
              </a:ext>
            </a:extLst>
          </p:cNvPr>
          <p:cNvCxnSpPr>
            <a:cxnSpLocks/>
          </p:cNvCxnSpPr>
          <p:nvPr/>
        </p:nvCxnSpPr>
        <p:spPr>
          <a:xfrm flipV="1">
            <a:off x="8255690" y="1194369"/>
            <a:ext cx="0" cy="5172114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6DA0E60-4C49-2238-F5EB-EA67B4622A70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694929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383098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238524-76D1-1554-2C15-D1D60D57F1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D1D30B-2675-77B8-B4B4-183E820B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C092AC2-5883-4026-BDE2-38E174609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632048C-EFD6-AD76-3B2F-15952F97E0BE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74514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72AE0DBD-FCD3-C9A0-CBEA-0C7B89C9D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978149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0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5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4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7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6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9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3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3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2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5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3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 6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244973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CAF222-5C3B-3C63-05DA-884928AB8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7EC1C0-739C-EE77-31AF-72A4E5E30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3632700-7D80-2B51-26FB-09457D35D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128FD57-4047-ACC5-C8D2-5DE5C4194774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5803506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9917F7C3-7E6A-49D7-37C2-6C06014CA3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98493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6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7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8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9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0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1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2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3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4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35</a:t>
                      </a:r>
                    </a:p>
                  </a:txBody>
                  <a:tcPr marL="9525" marR="9525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60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9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7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5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4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1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7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6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9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3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3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 2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5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3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4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 6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22153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CA71CA-EB79-BEF3-96CD-1272F8D6D0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CA4767-7862-7C15-CC5C-AC036CACA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40B780E-6FB6-AA4D-809B-73D4E3CBC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21FC45E-7AF8-6148-7AD2-D4EFCE0E3237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6455260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Базовый сценарий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6258EAF-D509-EC94-EE99-C7B4DCC4AB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945833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2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6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2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7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6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8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4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29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6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0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5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1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1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2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7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3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6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4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 84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035</a:t>
                      </a:r>
                    </a:p>
                  </a:txBody>
                  <a:tcPr marL="9525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6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 8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 6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0135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880E34-3C24-41B9-89E7-EF86963FAE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5BDFFB2-008C-C89E-E8DB-0244EC21A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FE42D01-2B6E-6212-C993-AD4929F41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70E1B14-2723-9F90-036E-0E3747711512}"/>
              </a:ext>
            </a:extLst>
          </p:cNvPr>
          <p:cNvSpPr txBox="1">
            <a:spLocks/>
          </p:cNvSpPr>
          <p:nvPr/>
        </p:nvSpPr>
        <p:spPr>
          <a:xfrm>
            <a:off x="71999" y="700391"/>
            <a:ext cx="699028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79B98A95-07F7-E4CC-4402-A8C1A656F5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5445798"/>
              </p:ext>
            </p:extLst>
          </p:nvPr>
        </p:nvGraphicFramePr>
        <p:xfrm>
          <a:off x="175097" y="1070044"/>
          <a:ext cx="11879995" cy="5399996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14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9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8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5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9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3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4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9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0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9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1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8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7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8 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415466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54F782-1EF1-4145-0084-D7DA676619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867CE5-F78C-6038-CD9B-A4F54682D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5518D21-8CF1-D40B-E5C2-B73DC5EC1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074E840-33EB-9C03-175F-7AAF77A68E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464498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9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2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 1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8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5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9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3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4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9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7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 8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0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2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9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 1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 8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7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8 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812F7E-3B8E-0473-1BEB-6C4101A2888E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651762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15558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7F453-E3D1-0298-5E32-266289142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A27882-9AE6-96D9-8399-2CAD0466D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C1C47CC-ECE3-6669-BD91-B5625C0C7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77C02D9F-B8DC-A7F2-7A57-ABB2EE5C07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5646157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 8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 5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6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 2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19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 0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 2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 9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 18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 8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 3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7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0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 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8 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BA54E2E-E7B1-00F6-D889-E7A874EA235B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155651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rgbClr val="56A972"/>
                </a:solidFill>
              </a:rPr>
              <a:t>Оптимистический сценарий</a:t>
            </a:r>
            <a:endParaRPr lang="ru-KZ" sz="1800" kern="0" dirty="0">
              <a:solidFill>
                <a:srgbClr val="56A9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31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6D5FAE-40A5-C82B-8359-959EE209D7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689E36-6D8C-1F6F-EFFE-2604C457D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выводы (3 из 3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9C7001C-BCF3-5760-0AA5-C97642219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042BB8-20AD-3341-FC0D-A4B1EE5E1191}"/>
              </a:ext>
            </a:extLst>
          </p:cNvPr>
          <p:cNvSpPr txBox="1"/>
          <p:nvPr/>
        </p:nvSpPr>
        <p:spPr>
          <a:xfrm>
            <a:off x="256032" y="822960"/>
            <a:ext cx="11679936" cy="620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профессиональном разрезе ожидается, что преобладающий спрос будет формироваться на специалистов-профессионалов, где он составит 592 тыс. человек, или 20% совокупного спроса. Кроме того, высокие показатели спроса будут отмечаться среди неквалифицированных работников, потребность в которых, как ожидается, составит порядка 466 тыс. человек, или 16% совокупного спроса. Также востребованными будут являться руководители и государственные служащие, на которых будет приходится спрос в объеме 413 тыс. человек, или 14% от совокупного. Спрос на операторов производственного оборудования, сборщиков и водителей (365 тыс. человек, или 12%) будет незначительно превосходить спрос на работников сферы услуг и продаж (361 тыс. человек, или 12%). В свою очередь, потребность в специалистах-техниках оценивается в объеме 328 тыс. человек, или 11% совокупного спроса, работниках промышленности, строительства и транспорта – в 279 тыс. человек, или 9%. Наименьшая потребность ожидается в категории служащих в области администрирования (135 тыс. человек, или 5%), а также фермерах и рабочих сельского хозяйства (38 тыс. человек, или 1%).  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рос на наемных работников имеет две составляющих: новый спрос и спрос по замещению. В течение 2025-2035 годов, как ожидается, совокупная потребность в кадрах в связи с необходимостью в замещении выбывающих работников составит 1 млн 418 тыс. человек, в том числе по причине достижения пенсионного возраста – 1 млн 106 тыс. человек, по причине смертности – 312 тыс. человек. В целом ежегодный спрос по замещению оценивается на уровне примерно 140 тыс. человек, за исключением периода 2028-2031 годов, когда объемы рабочей силы, требуемые к замещению, будут составлять порядка 105-110 тыс. человек ежегодно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жидается, что наиболее крупным источником спроса по замещению будет являться сфера образования, на которую будет приходится порядка 291 тыс. человек. Кроме нее, следует отметить промышленность (253 тыс. человек), в особенности обрабатывающую (143 тыс. человек), а также торговлю (137 тыс. человек) и сферу здравоохранения (134 тыс. человек). Таким образом, на сферу общественных услуг будет приходится порядка 35% спроса по замещению, или 491 тыс. человек, на сферу транспортировки и распределения товаров – практически вдвое меньше (264 тыс. человек). Наконец, в разрезе широких секторов ожидается, что спрос по замещению в сфере услуг составит 993 тыс. человек, или 70% от общего спроса по замещению, в реальном секторе – 425 тыс. человек, или 30%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зрезе крупных макрорегионов ожидается, что основная часть спроса по замещению будет приходится на мегаполисы (28% спроса по замещению, или 403 тыс. человек). При этом, в отличие от совокупного спроса, на второе место по объему спроса по замещению в связи с более высоким средним возрастом выходят центральные и восточные регионы (22%, или 313 тыс. человек), а южные регионы занимают третье место (20%, или 287 тыс. человек). Кроме того, спрос по замещению в западных регионах, как ожидается, за 2025-2035 годы составит порядка 216 тыс. человек, северных регионах – 198 тыс. человек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зрезе конкретных регионов ожидается, что на г. Алматы будет приходится спрос в объеме 219 тыс. человек, г. Астана – 120 тыс. человек, Карагандинскую область – 100 тыс. человек, Костанайскую – 82 тыс. человек, Туркестанскую – 79 тыс. человек, Павлодарскую – 73 тыс. человек. </a:t>
            </a:r>
          </a:p>
          <a:p>
            <a:pPr marL="285750" indent="-285750" algn="just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4688020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3EDA8-4656-D557-122C-E8A5163E4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9B51A5-22ED-512E-26C6-A26B94FC4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регион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CF06CF4-8A13-B3B4-5095-DB6A0111B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C10F182-AC65-F121-350D-91C90E251990}"/>
              </a:ext>
            </a:extLst>
          </p:cNvPr>
          <p:cNvSpPr txBox="1">
            <a:spLocks/>
          </p:cNvSpPr>
          <p:nvPr/>
        </p:nvSpPr>
        <p:spPr>
          <a:xfrm>
            <a:off x="71999" y="700391"/>
            <a:ext cx="818678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347CE3A-1D5E-3EE3-A759-3FFF948C5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084557"/>
              </p:ext>
            </p:extLst>
          </p:nvPr>
        </p:nvGraphicFramePr>
        <p:xfrm>
          <a:off x="175097" y="1070044"/>
          <a:ext cx="11879993" cy="5399991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6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1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260009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питани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5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9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47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7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8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8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90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197142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90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9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110677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E5D687-B44C-1C2D-9171-EBC7F4F08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4196F1-F845-F67D-1F0C-32CB80D04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767E767-EDFA-D7E3-1995-8BC9B72EF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9689777-DED7-23A8-1C1A-2561C6F26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095568"/>
              </p:ext>
            </p:extLst>
          </p:nvPr>
        </p:nvGraphicFramePr>
        <p:xfrm>
          <a:off x="175097" y="1070044"/>
          <a:ext cx="11879999" cy="5400003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643975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85300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360507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1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2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3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4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35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бай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9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мол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3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ктюб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0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лмат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Атыр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З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амбыл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Жетыс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9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раган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9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останай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ызылорди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0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Мангистау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9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624006720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Павлодар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47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71704854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С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7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289189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Турке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7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31812551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Улытау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69433229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В.-Казахстанская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8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434409632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стана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0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4393085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Алматы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 8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51007158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Г. Шымкент</a:t>
                      </a:r>
                      <a:endParaRPr lang="ru-RU" sz="1050" b="0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1556306"/>
                  </a:ext>
                </a:extLst>
              </a:tr>
              <a:tr h="239976"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u="none" strike="noStrike" cap="none" dirty="0">
                          <a:solidFill>
                            <a:schemeClr val="dk1"/>
                          </a:solidFill>
                          <a:effectLst/>
                          <a:sym typeface="Arial"/>
                        </a:rPr>
                        <a:t>Казахстан</a:t>
                      </a:r>
                      <a:endParaRPr lang="ru-KZ" sz="1050" b="1" i="0" u="none" strike="noStrike" cap="none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72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9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146318F-BAAB-89E9-0B4F-050D8FD8D13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8108962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46024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1E751-3AF3-B108-0CD2-043FEAD54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0CEEE4-9248-0AF6-A6E5-BA07F56BB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в 2025-2035 годах по годам и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B3785CF-5EE8-5525-EEA1-9578132BF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CFD428C9-A56C-2E8E-C960-306BF2ECC4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848925"/>
              </p:ext>
            </p:extLst>
          </p:nvPr>
        </p:nvGraphicFramePr>
        <p:xfrm>
          <a:off x="175097" y="1070044"/>
          <a:ext cx="11879995" cy="5399995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1339507">
                  <a:extLst>
                    <a:ext uri="{9D8B030D-6E8A-4147-A177-3AD203B41FA5}">
                      <a16:colId xmlns:a16="http://schemas.microsoft.com/office/drawing/2014/main" val="85710764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57088030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6532080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235317981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862630078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401002994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70234567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26458049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532665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68257332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71381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209965766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48691846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29328381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21780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3659830770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085652102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965262679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576993"/>
                    </a:ext>
                  </a:extLst>
                </a:gridCol>
                <a:gridCol w="517554">
                  <a:extLst>
                    <a:ext uri="{9D8B030D-6E8A-4147-A177-3AD203B41FA5}">
                      <a16:colId xmlns:a16="http://schemas.microsoft.com/office/drawing/2014/main" val="1116940700"/>
                    </a:ext>
                  </a:extLst>
                </a:gridCol>
                <a:gridCol w="706962">
                  <a:extLst>
                    <a:ext uri="{9D8B030D-6E8A-4147-A177-3AD203B41FA5}">
                      <a16:colId xmlns:a16="http://schemas.microsoft.com/office/drawing/2014/main" val="581187171"/>
                    </a:ext>
                  </a:extLst>
                </a:gridCol>
              </a:tblGrid>
              <a:tr h="1876615"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59" marR="6259" marT="625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ельское хозяйств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рнодобывающая промышлен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брабатывающая промышленность 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Электро- и энергоснабж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Водоснабжение и удаление отходов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троительство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орговля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Транспорт и складир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Услуги по проживанию и </a:t>
                      </a:r>
                      <a:endParaRPr lang="en-US" sz="900" b="0" u="none" strike="noStrike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итанию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нформация и связ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Финансы и страх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>
                          <a:solidFill>
                            <a:srgbClr val="000000"/>
                          </a:solidFill>
                          <a:effectLst/>
                        </a:rPr>
                        <a:t>Операции с недвижимостью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ф. и научная деятельност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Адм. и вспом. обслужи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Гос. управление и соц. обеспеч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Образова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Здравоохран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скусство и развлеч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чие индивидуальные услуг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72000" vert="vert27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cap="none" dirty="0">
                          <a:solidFill>
                            <a:srgbClr val="000000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6259" marT="6259" marB="72000" vert="vert270" anchor="ctr"/>
                </a:tc>
                <a:extLst>
                  <a:ext uri="{0D108BD9-81ED-4DB2-BD59-A6C34878D82A}">
                    <a16:rowId xmlns:a16="http://schemas.microsoft.com/office/drawing/2014/main" val="224613680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0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90749394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6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19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5471743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7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6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043184468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8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6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9881678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29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8308626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0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9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774761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1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 57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85773013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2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 7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24603289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3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9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544990456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4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3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84666127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035</a:t>
                      </a:r>
                      <a:endParaRPr lang="ru-RU" sz="1100" b="0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2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095292420"/>
                  </a:ext>
                </a:extLst>
              </a:tr>
              <a:tr h="29361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Всего</a:t>
                      </a:r>
                      <a:endParaRPr lang="ru-KZ" sz="1100" b="1" i="0" u="none" strike="noStrike" cap="non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6259" marR="3600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5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9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9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396242681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28B3428-69BA-BCF1-EB73-A7F69854708C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7933864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Рабочие профессии, </a:t>
            </a:r>
            <a:r>
              <a:rPr lang="ru-RU" sz="1800" kern="0" dirty="0">
                <a:solidFill>
                  <a:schemeClr val="accent6">
                    <a:lumMod val="75000"/>
                  </a:schemeClr>
                </a:solidFill>
              </a:rPr>
              <a:t>Пессимистический сценарий</a:t>
            </a:r>
            <a:endParaRPr lang="ru-KZ" sz="1800" kern="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22752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0667B8-00F6-D0C3-BAF5-B616B05BE6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1B7AD336-4D40-9362-39CB-691780BEC7CF}"/>
              </a:ext>
            </a:extLst>
          </p:cNvPr>
          <p:cNvSpPr txBox="1">
            <a:spLocks/>
          </p:cNvSpPr>
          <p:nvPr/>
        </p:nvSpPr>
        <p:spPr>
          <a:xfrm>
            <a:off x="62061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ЧАСТЬ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V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ИБО</a:t>
            </a: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ЕЕ ВОСТРЕБОВАННЫЕ ПРОФЕСИИ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57816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E44914-5DFD-A511-69E5-3B78C852B4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81BBA6-F204-C078-8AEF-CC96BE163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4B60638-A9FF-20A1-9258-247B5B262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79B3274-969A-0E77-E4AE-A6C5E78540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572275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1 7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2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4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9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5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9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8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8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2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 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8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5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5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6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6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 3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8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2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5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7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8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0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3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 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4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2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5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7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6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10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 0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5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8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2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 4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7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2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0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 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9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8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3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3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5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6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 7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0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1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3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5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 0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6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9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3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 4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0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 3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1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 4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3-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налит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9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2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 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 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2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 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банков и работники родственных занят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 4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49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2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 6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финансовой и страховой деятельност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 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 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2870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4E477A-A7CE-FC86-FD34-5753F971A9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950469-422D-FB61-DDAA-E36B3A260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B018422-C94C-D6B9-4F45-DF0AE57FA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C97BD56-4557-2066-8EF5-48788AE072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9018809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11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 6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 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 0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2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 4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5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2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2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3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2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0-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8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6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6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5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3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9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0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4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31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204675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16A043-1BD3-9B55-020B-62400C571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EA0DDE-B788-224A-A331-F4CF8C8A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6BF121-FE5C-5DE9-5222-06322F8AF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73033EF-2A93-C8C7-E23C-5457820EC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9762643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3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8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6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0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6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2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5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5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врач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2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1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15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ценщики и эксперты по страховой оценке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0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22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9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8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4-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34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Шеф-повар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4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9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</a:t>
                      </a:r>
                      <a:r>
                        <a:rPr lang="ru-RU" sz="10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ТиТБ</a:t>
                      </a:r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финансовым вопросам и инвестиция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215195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28A2DB-13E3-D5F7-53BA-926F1AF56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2A9CE05-63EB-867F-CFC6-735BB60CE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1C0E014-C59C-B06D-2D8F-A477811E5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FE71ED8-B37D-D3FC-B41A-B4AB28356B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422633"/>
              </p:ext>
            </p:extLst>
          </p:nvPr>
        </p:nvGraphicFramePr>
        <p:xfrm>
          <a:off x="71998" y="862445"/>
          <a:ext cx="11880001" cy="5399204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3012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07108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3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родаж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5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5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4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3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2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1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7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0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0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3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0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2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в области сестринского дел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9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7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3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3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13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4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арикмах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74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ген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доярству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59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4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9-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141E735-3B2B-928B-58D0-845DA87510B5}"/>
              </a:ext>
            </a:extLst>
          </p:cNvPr>
          <p:cNvSpPr txBox="1">
            <a:spLocks/>
          </p:cNvSpPr>
          <p:nvPr/>
        </p:nvSpPr>
        <p:spPr>
          <a:xfrm>
            <a:off x="72000" y="6131603"/>
            <a:ext cx="1212000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900" b="0" kern="0" dirty="0"/>
              <a:t>* - за исключением 1 и 9 групп НКЗ-2017</a:t>
            </a:r>
            <a:endParaRPr lang="ru-KZ" sz="900" b="0" kern="0" dirty="0"/>
          </a:p>
        </p:txBody>
      </p:sp>
    </p:spTree>
    <p:extLst>
      <p:ext uri="{BB962C8B-B14F-4D97-AF65-F5344CB8AC3E}">
        <p14:creationId xmlns:p14="http://schemas.microsoft.com/office/powerpoint/2010/main" val="191145052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EC6EA0-2C44-32D7-3A62-7D2DDF6EE2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FCC9C8-85C3-1649-E9B9-B7C3DDF4F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894EDE6-76C8-2684-4B12-E971160F7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F503B9C-3DA9-D05C-A764-EB727E1423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370324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9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7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7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0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 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7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7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0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5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4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1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 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5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 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 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 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3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нали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 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 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банков и работники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 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4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 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2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финансовой и страховой деятельност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9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677647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9913A0-99B8-4F1E-F66C-FC24B938E6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A65955-F096-F318-9148-101777EBD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848F8F7-A7DB-20EB-A020-08318169DE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FCF093C-B6A4-C6F3-3519-2A525C804D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287523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4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0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1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 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 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6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4-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004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88B337-E0D5-0061-7304-FDDCB9B4A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F4C765-83E7-7EAA-CE0F-7CC02A1C1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ноз параметров рынка труда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6BE2EBC-66FB-D040-2C81-AFFAD5354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F80B5CC3-FB55-A8EE-77D2-8D2FE15A4C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438901"/>
              </p:ext>
            </p:extLst>
          </p:nvPr>
        </p:nvGraphicFramePr>
        <p:xfrm>
          <a:off x="83997" y="744188"/>
          <a:ext cx="12024005" cy="18327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75443">
                  <a:extLst>
                    <a:ext uri="{9D8B030D-6E8A-4147-A177-3AD203B41FA5}">
                      <a16:colId xmlns:a16="http://schemas.microsoft.com/office/drawing/2014/main" val="148818107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77883816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648078391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93123452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75351647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419582130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4903124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5772377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282513368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76668189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531879693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577086934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ru-RU" sz="1200" dirty="0"/>
                        <a:t>Базовый сценарий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5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6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7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8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9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0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1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2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3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4</a:t>
                      </a:r>
                      <a:endParaRPr lang="ru-KZ" sz="1200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5</a:t>
                      </a:r>
                      <a:endParaRPr lang="ru-KZ" sz="1200" dirty="0"/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62961984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100" b="1" dirty="0"/>
                        <a:t>Численность рабочей силы, тыс.</a:t>
                      </a:r>
                      <a:endParaRPr lang="ru-KZ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88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42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13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33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51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86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6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79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95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17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48,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0168237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Численность занятых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37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89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57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71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83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2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5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92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02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19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43,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6796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наемные работники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18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0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71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04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34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7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27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083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242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6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574,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7328148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иные категории занятых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19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8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5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6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49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8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7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9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59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3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69,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70017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Безработное население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8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4,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5439036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000" i="1" dirty="0"/>
                        <a:t>Уровень безработицы, %</a:t>
                      </a:r>
                      <a:endParaRPr lang="ru-KZ" sz="10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0311853"/>
                  </a:ext>
                </a:extLst>
              </a:tr>
            </a:tbl>
          </a:graphicData>
        </a:graphic>
      </p:graphicFrame>
      <p:graphicFrame>
        <p:nvGraphicFramePr>
          <p:cNvPr id="33" name="Таблица 32">
            <a:extLst>
              <a:ext uri="{FF2B5EF4-FFF2-40B4-BE49-F238E27FC236}">
                <a16:creationId xmlns:a16="http://schemas.microsoft.com/office/drawing/2014/main" id="{4BD32098-0B9B-B324-5D78-24A6C156B1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781582"/>
              </p:ext>
            </p:extLst>
          </p:nvPr>
        </p:nvGraphicFramePr>
        <p:xfrm>
          <a:off x="83997" y="2704478"/>
          <a:ext cx="12024005" cy="1832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75443">
                  <a:extLst>
                    <a:ext uri="{9D8B030D-6E8A-4147-A177-3AD203B41FA5}">
                      <a16:colId xmlns:a16="http://schemas.microsoft.com/office/drawing/2014/main" val="148818107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77883816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648078391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93123452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75351647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419582130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4903124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5772377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282513368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76668189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531879693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577086934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ru-RU" sz="1200" b="1" dirty="0"/>
                        <a:t>Оптимистический сценарий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5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6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7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8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9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0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1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2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3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4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5</a:t>
                      </a:r>
                      <a:endParaRPr lang="ru-KZ" sz="1200" b="1" dirty="0"/>
                    </a:p>
                  </a:txBody>
                  <a:tcPr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61984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100" b="1" dirty="0"/>
                        <a:t>Численность рабочей силы, тыс.</a:t>
                      </a:r>
                      <a:endParaRPr lang="ru-KZ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2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87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9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80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00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37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89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35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52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876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>
                        <a:buNone/>
                      </a:pPr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09,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0168237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Численность занятых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70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32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11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37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2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93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49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188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12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41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579,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6796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наемные работники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60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52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6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44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54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182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21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665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20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85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61,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7328148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иные категории занятых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80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4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2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7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0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27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2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1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6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,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70017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Безработное население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2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4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,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5439036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000" i="1" dirty="0"/>
                        <a:t>Уровень безработицы, %</a:t>
                      </a:r>
                      <a:endParaRPr lang="ru-KZ" sz="10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0311853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83ABACF-0945-F734-3E25-BB3667F174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888243"/>
              </p:ext>
            </p:extLst>
          </p:nvPr>
        </p:nvGraphicFramePr>
        <p:xfrm>
          <a:off x="83997" y="4660769"/>
          <a:ext cx="12024005" cy="1832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475443">
                  <a:extLst>
                    <a:ext uri="{9D8B030D-6E8A-4147-A177-3AD203B41FA5}">
                      <a16:colId xmlns:a16="http://schemas.microsoft.com/office/drawing/2014/main" val="148818107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77883816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648078391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93123452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75351647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419582130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49031245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757723772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1282513368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766681890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2531879693"/>
                    </a:ext>
                  </a:extLst>
                </a:gridCol>
                <a:gridCol w="777142">
                  <a:extLst>
                    <a:ext uri="{9D8B030D-6E8A-4147-A177-3AD203B41FA5}">
                      <a16:colId xmlns:a16="http://schemas.microsoft.com/office/drawing/2014/main" val="577086934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r>
                        <a:rPr lang="ru-RU" sz="1200" b="1" dirty="0"/>
                        <a:t>Пессимистический сценарий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5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6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7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8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29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0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1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2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3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4</a:t>
                      </a:r>
                      <a:endParaRPr lang="ru-KZ" sz="1200" b="1" dirty="0"/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2035</a:t>
                      </a:r>
                      <a:endParaRPr lang="ru-KZ" sz="1200" b="1" dirty="0"/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62961984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100" b="1" dirty="0"/>
                        <a:t>Численность рабочей силы, тыс.</a:t>
                      </a:r>
                      <a:endParaRPr lang="ru-KZ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92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46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16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4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51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85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3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375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490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11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740,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50168237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Численность занятых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41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73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20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13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04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520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50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63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50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942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42,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3086796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наемные работники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00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79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8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08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367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25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483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541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0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59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19,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07328148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432000"/>
                      <a:r>
                        <a:rPr lang="ru-RU" sz="1000" dirty="0"/>
                        <a:t>иные категории занятых, тыс.</a:t>
                      </a:r>
                      <a:endParaRPr lang="ru-KZ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41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3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72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5,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37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5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7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22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0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3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22,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67001710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pPr marL="216000"/>
                      <a:r>
                        <a:rPr lang="ru-RU" sz="1100" dirty="0"/>
                        <a:t>Безработное население, тыс.</a:t>
                      </a:r>
                      <a:endParaRPr lang="ru-KZ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,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,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,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9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,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54390369"/>
                  </a:ext>
                </a:extLst>
              </a:tr>
              <a:tr h="212315">
                <a:tc>
                  <a:txBody>
                    <a:bodyPr/>
                    <a:lstStyle/>
                    <a:p>
                      <a:r>
                        <a:rPr lang="ru-RU" sz="1000" i="1" dirty="0"/>
                        <a:t>Уровень безработицы, %</a:t>
                      </a:r>
                      <a:endParaRPr lang="ru-KZ" sz="10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530311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472411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E5837D-B1AD-982A-34A6-C09DFE09A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0C6649-154D-A7CB-F5E6-3633F92FF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F318414-E243-2884-CA7D-D54084CFB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418A6CB-02C9-D9BA-31E5-7FF1635745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837642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5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врач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ценщики и эксперты по страховой оценк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финансовым вопросам и инвестиция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2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3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еф-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9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6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доя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родаж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449355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B43B00-68D9-73C9-3BAC-C2AC7003CD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C7175A-7FF1-46AD-D5CE-0146DBC68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B293587-3FB6-79DC-C980-B6A3B7F1AD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BE3BAAE-BE34-4126-0AD4-1FA1CB693D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909257"/>
              </p:ext>
            </p:extLst>
          </p:nvPr>
        </p:nvGraphicFramePr>
        <p:xfrm>
          <a:off x="71998" y="862445"/>
          <a:ext cx="11880001" cy="5399204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3012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07108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4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9-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арикмах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9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3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4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ген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в области сестринского дел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Журнал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2CD032F-89C6-F100-EC49-F084BF2818F3}"/>
              </a:ext>
            </a:extLst>
          </p:cNvPr>
          <p:cNvSpPr txBox="1">
            <a:spLocks/>
          </p:cNvSpPr>
          <p:nvPr/>
        </p:nvSpPr>
        <p:spPr>
          <a:xfrm>
            <a:off x="72000" y="6131603"/>
            <a:ext cx="1212000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900" b="0" kern="0" dirty="0"/>
              <a:t>* - за исключением 1 и 9 групп НКЗ-2017</a:t>
            </a:r>
            <a:endParaRPr lang="ru-KZ" sz="900" b="0" kern="0" dirty="0"/>
          </a:p>
        </p:txBody>
      </p:sp>
    </p:spTree>
    <p:extLst>
      <p:ext uri="{BB962C8B-B14F-4D97-AF65-F5344CB8AC3E}">
        <p14:creationId xmlns:p14="http://schemas.microsoft.com/office/powerpoint/2010/main" val="218304933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A4FAD6-8F81-A186-D0D0-7BEE42F9A4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5E8524-1A5D-3EC7-F065-B9BFF3E018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F3087C6-93B3-CE04-B334-FCCED2C93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DFDFB54-4799-7C0B-704A-B1252E50E1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2434517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 0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0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7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1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 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0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 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1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 3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 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 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1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7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93136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2CBA23-CA2B-AA8E-C8CC-2C2D2BA68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FB4F19-BB2C-59C7-9E9D-05BD46D1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0075D1A-54BC-14DE-0169-44FA19F2A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F5B2752-3A19-605B-0D33-C56139651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234744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банков и работники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6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3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нали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0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0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финансовой и страховой деятельност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0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777610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87D4A-3D74-609D-50D9-49076857F8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491612-94F8-CD23-26D8-BCE6EFDDC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49BD7BA-0635-9F5D-1345-F51C0878E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CE170D0-5355-3CAF-8173-3BBAE2EBD9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4458577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5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2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в области сестринского дел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3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еф-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5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врач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9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0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81771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C0E473-825F-721C-6973-60AA9F18E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7B758D-241C-B7CB-BBF5-61580B6E9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C57ED69-0BAC-B90D-96A1-EA5EC8D31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D735542-42EF-983C-B8C9-4BD661A55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740459"/>
              </p:ext>
            </p:extLst>
          </p:nvPr>
        </p:nvGraphicFramePr>
        <p:xfrm>
          <a:off x="71998" y="862445"/>
          <a:ext cx="11880001" cy="5399204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3012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07108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4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родаж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59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4-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ценщики и эксперты по страховой оценк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УЗов в области образ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6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фармацевтической деятельност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1984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2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надзору за строительств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B4B635D-659C-A6FB-7AB8-7FA2F39CA87E}"/>
              </a:ext>
            </a:extLst>
          </p:cNvPr>
          <p:cNvSpPr txBox="1">
            <a:spLocks/>
          </p:cNvSpPr>
          <p:nvPr/>
        </p:nvSpPr>
        <p:spPr>
          <a:xfrm>
            <a:off x="72000" y="6131603"/>
            <a:ext cx="1212000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900" b="0" kern="0" dirty="0"/>
              <a:t>* - за исключением 1 и 9 групп НКЗ-2017</a:t>
            </a:r>
            <a:endParaRPr lang="ru-KZ" sz="900" b="0" kern="0" dirty="0"/>
          </a:p>
        </p:txBody>
      </p:sp>
    </p:spTree>
    <p:extLst>
      <p:ext uri="{BB962C8B-B14F-4D97-AF65-F5344CB8AC3E}">
        <p14:creationId xmlns:p14="http://schemas.microsoft.com/office/powerpoint/2010/main" val="264981008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E68BD-063A-5EAE-ECA0-0E5508062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EE8810D-8A8A-AE09-F5FF-36E6DD61EF7D}"/>
              </a:ext>
            </a:extLst>
          </p:cNvPr>
          <p:cNvSpPr txBox="1">
            <a:spLocks/>
          </p:cNvSpPr>
          <p:nvPr/>
        </p:nvSpPr>
        <p:spPr>
          <a:xfrm>
            <a:off x="62061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ЧАСТЬ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V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rgbClr val="14345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ИБО</a:t>
            </a: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ЕЕ ВОСТРЕБОВАННЫЕ РАБОЧИЕ ПРОФЕСИИ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86914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E1A472-8646-6C95-1CC7-52B3EDE650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FB8752-8754-E410-F8ED-3D34C9BD1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9CE6524-B83F-E8AD-8767-2006DEFA5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21427AE0-4D45-AAD1-55A2-EE6D1FDFAD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190793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6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6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 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4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2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5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7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6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 0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 4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 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6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 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 0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 5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 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6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3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 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 5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96136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7A7487-1476-A870-99C6-44F06B2FBB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AA5626-F781-4D43-D1A7-5EC7D97C2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8760DF3-8FB6-C718-615C-51B850D10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FFD09FA-2A8D-FD2E-6058-1BF784C22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02133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6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2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 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8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2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 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9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7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4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3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2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 0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7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3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3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 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2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доярству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59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4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6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4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4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2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1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433079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1CE462-0E43-B716-1F78-37A701745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448A16-1EB2-58CE-F56B-00BDC0267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28A6F40-DA84-21CD-D7F9-D035D8DD0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66CCF1B-D0D1-3306-7C98-EBEEA7CB4B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3098097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технологи (общий профиль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1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0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 0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2-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8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9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8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14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7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4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 err="1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Бетоноотделочники</a:t>
                      </a:r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 и шлифоваль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6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432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транспорте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1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4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ульдозер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5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 0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3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00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 над операторами стационарного оборудования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8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2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7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Камен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3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32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фармацевт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3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адовники и садовод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4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1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32-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пожарной машин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3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2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59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1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мебели и прочие сбор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обработке и обогащению руд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9929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A0AD45-E0AD-DAA5-E697-4BA1E2DAB9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093CDD6-43FB-2507-5551-8006D7B818F6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ЧАСТЬ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ЕСЬ СПРОС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145916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C3D6B-B8CE-2F2A-C4F8-1CEA3668C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C195AB-AA16-3660-DE58-95B69C4CF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базов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4AABC3D-6B19-7AE8-AAA8-468CE8041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0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55669A99-6B70-5288-E87D-716006A59F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2570673"/>
              </p:ext>
            </p:extLst>
          </p:nvPr>
        </p:nvGraphicFramePr>
        <p:xfrm>
          <a:off x="71998" y="862445"/>
          <a:ext cx="11880001" cy="5644793"/>
        </p:xfrm>
        <a:graphic>
          <a:graphicData uri="http://schemas.openxmlformats.org/drawingml/2006/table">
            <a:tbl>
              <a:tblPr bandRow="1"/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8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529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3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троител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12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хлебобулочных издел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85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компрессорных установок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549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52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медицинской информа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3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Штукату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21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радиоэлектрон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316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5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из минеральных материал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 0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13-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высоковольтным ЛЭП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213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54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Авиационные диспетче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2-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одземному ремонту скважин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2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Изолиров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210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211-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31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охране окружающей сред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4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Железобетонщик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350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Члены палубной команд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8113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115-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толяры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231-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двигателя и трансмисс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4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6114-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 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143452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73407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46773-EBB5-C11C-CCA8-B4A0864A70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918798E-6E60-D1C2-8AF9-ACD898335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242090-C50E-2A08-76AA-0AA33918A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1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38047BB-BFFD-8167-387D-509C196B7D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499876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 7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7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5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5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4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6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 0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 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 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8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 6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9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 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8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 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 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 4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 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8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7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96564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1D4798-E78E-D8AA-5043-70480FC95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96E525-0D1A-485B-7BA9-1B6748E0A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16D2462-CBFF-1368-671F-876822898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2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749ECC85-1243-8045-2C7D-060B55D0CB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7700801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1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6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доя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8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7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6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4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етоноотделочники и шлифова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технолог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819978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F0D911-A8F5-9E72-1316-8F2749F99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D1D0EB-860E-4EAE-6F31-1C847BE9A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9BCE959-D2BC-6ED4-7C23-A1C6F092F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3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94B548FA-F9B4-1CD1-C599-4BF1B5B31B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820876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59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9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мен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ульдозе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2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транспорт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5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 над операторами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фармацев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Железобетон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3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тукату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5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из минеральных материал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троител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довники и садово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737092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9503C-4DDB-F53C-02C8-052C8FF16F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CCB50E-5F40-0E2F-843B-CE3734F6F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оптимистичн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E6CFA65-FBA6-2604-AA2C-22954160A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4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5BB9059-19CA-4335-48EC-DEA3E83B1F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345550"/>
              </p:ext>
            </p:extLst>
          </p:nvPr>
        </p:nvGraphicFramePr>
        <p:xfrm>
          <a:off x="71998" y="862445"/>
          <a:ext cx="11880001" cy="5644793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8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529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обработке и обогащению ру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мебели и прочие сбо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олир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пожар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хлебобулочны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виационные диспетч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компрессор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3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радиоэлектро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1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4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сельском хозяйств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медицинской информа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2-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одземному ремонту скваж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двигателя и трансмисс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охране окружающей сре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Члены палубной коман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37734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707BC1-0BC7-66D6-18C1-C124943DF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288431-B0EB-89B0-6E3A-0E71EAA6B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1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C120EA6-C385-37B5-69C0-4D7F68265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5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448721F-AADF-7B3A-4CB2-E3EA50C72E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5001318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 0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6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4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2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 7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8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 8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 0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9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9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 8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 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6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6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 0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 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9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 0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 9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4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 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en-US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1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9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8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3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7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6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202647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FB01AA-B18C-C670-1F33-89BA91021D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BF1E12-A449-2869-1618-BC4C44AA9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2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42B4AAD-A198-FC1A-9D7C-77C956988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6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D168EE04-126D-D747-AC62-DF3650EC4F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330443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7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9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5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 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8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5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4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 0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59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9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8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7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6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3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3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 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2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8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83733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7CD595-ABDC-6517-CA65-9CCFC89B2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8095FC-97E0-185F-ADDA-7C91CD8CB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3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4C9892F-4474-F92C-D35E-01815CB77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7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1306E3E7-F9F8-7A72-E667-26E204375E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617335"/>
              </p:ext>
            </p:extLst>
          </p:nvPr>
        </p:nvGraphicFramePr>
        <p:xfrm>
          <a:off x="71998" y="862445"/>
          <a:ext cx="11880001" cy="5643132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465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7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432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транспорт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технологи (общий профиль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5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4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4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4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ульдозер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3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5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00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 над операторами стационарного оборудов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 0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32-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пожарной машин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4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 err="1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Бетоноотделочники</a:t>
                      </a:r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 и шлифова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9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9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медицинской информаци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13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адовники и садово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7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радиоэлектрон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1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хлебобулочных издел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доярству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2-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одземному ремонту скважин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85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компрессорных установок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2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4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32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фармацевт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400677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21BCB-DF02-A836-F97C-039B795EDA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559269-3ECD-BA03-7BA9-BB510E048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Наиболее востребованные профессии пессимистичного сценария (</a:t>
            </a:r>
            <a:r>
              <a:rPr lang="en-US" sz="2400" dirty="0"/>
              <a:t>4</a:t>
            </a:r>
            <a:r>
              <a:rPr lang="ru-RU" sz="2400" dirty="0"/>
              <a:t> из 4) </a:t>
            </a:r>
            <a:endParaRPr lang="ru-KZ" sz="2400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BCA9B05-4E2B-97DE-F5DF-A6BD5446D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116C9B7C-5771-F2FE-870B-586D44A5ED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88213"/>
              </p:ext>
            </p:extLst>
          </p:nvPr>
        </p:nvGraphicFramePr>
        <p:xfrm>
          <a:off x="71998" y="862445"/>
          <a:ext cx="11880001" cy="5644793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8308">
                  <a:extLst>
                    <a:ext uri="{9D8B030D-6E8A-4147-A177-3AD203B41FA5}">
                      <a16:colId xmlns:a16="http://schemas.microsoft.com/office/drawing/2014/main" val="2567288076"/>
                    </a:ext>
                  </a:extLst>
                </a:gridCol>
                <a:gridCol w="1030868">
                  <a:extLst>
                    <a:ext uri="{9D8B030D-6E8A-4147-A177-3AD203B41FA5}">
                      <a16:colId xmlns:a16="http://schemas.microsoft.com/office/drawing/2014/main" val="1494435961"/>
                    </a:ext>
                  </a:extLst>
                </a:gridCol>
                <a:gridCol w="3995530">
                  <a:extLst>
                    <a:ext uri="{9D8B030D-6E8A-4147-A177-3AD203B41FA5}">
                      <a16:colId xmlns:a16="http://schemas.microsoft.com/office/drawing/2014/main" val="3560807854"/>
                    </a:ext>
                  </a:extLst>
                </a:gridCol>
                <a:gridCol w="1141806">
                  <a:extLst>
                    <a:ext uri="{9D8B030D-6E8A-4147-A177-3AD203B41FA5}">
                      <a16:colId xmlns:a16="http://schemas.microsoft.com/office/drawing/2014/main" val="182474566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57055670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92513026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34975134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27041662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383766281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275451615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74790829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075874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46815550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1100867153"/>
                    </a:ext>
                  </a:extLst>
                </a:gridCol>
                <a:gridCol w="488499">
                  <a:extLst>
                    <a:ext uri="{9D8B030D-6E8A-4147-A177-3AD203B41FA5}">
                      <a16:colId xmlns:a16="http://schemas.microsoft.com/office/drawing/2014/main" val="2692349815"/>
                    </a:ext>
                  </a:extLst>
                </a:gridCol>
              </a:tblGrid>
              <a:tr h="24058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руппа занятий</a:t>
                      </a:r>
                    </a:p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b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КЗ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-201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сего за 202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20</a:t>
                      </a:r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по годам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4345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7564183"/>
                  </a:ext>
                </a:extLst>
              </a:tr>
              <a:tr h="216529"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434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14345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6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7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8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9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0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1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2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3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4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35</a:t>
                      </a:r>
                      <a:endParaRPr lang="ru-RU" sz="10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603" marR="6603" marT="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0625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2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Камен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202481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2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28981022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3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9654139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13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высоковольтным ЛЭП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19510430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13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16173316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4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4557014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9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мебели и прочие сбо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5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09761550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троител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73708306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обработке и обогащению ру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3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46564165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54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виационные диспетче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2390657696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11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охране окружающей сре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78147133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210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4251926215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11-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2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43350953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5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Столя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10812115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3251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Зубные врач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859109263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3-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Штукатур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614668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24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Изолир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067799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21-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96774241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350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Члены палубной команды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145376209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глине и керамике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6325063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2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рудообжигательной и металообжигательной печ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295061941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11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50895560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  <a:endParaRPr lang="ru-KZ" sz="1000" b="0" i="0" u="none" strike="noStrike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422-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телекоммуникаций (ИКТ)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761244194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213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1996304957"/>
                  </a:ext>
                </a:extLst>
              </a:tr>
              <a:tr h="207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  <a:endParaRPr lang="ru-KZ" sz="1000" b="0" i="0" u="none" strike="noStrike" dirty="0">
                        <a:solidFill>
                          <a:srgbClr val="0A112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316-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1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1000" b="0" i="0" u="none" strike="noStrike" dirty="0">
                          <a:solidFill>
                            <a:srgbClr val="0A112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/>
                </a:tc>
                <a:extLst>
                  <a:ext uri="{0D108BD9-81ED-4DB2-BD59-A6C34878D82A}">
                    <a16:rowId xmlns:a16="http://schemas.microsoft.com/office/drawing/2014/main" val="3085205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5035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AB6D52-D72D-6831-E862-9F00B5EF7A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55AE43-C693-A70E-6BC7-45EAFEF7C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отрасля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8F25433-6262-489E-4BE4-75B9D20BB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1FE18F45-4321-D1A4-B4CE-A74ADE9929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633909"/>
              </p:ext>
            </p:extLst>
          </p:nvPr>
        </p:nvGraphicFramePr>
        <p:xfrm>
          <a:off x="237487" y="1566863"/>
          <a:ext cx="2717513" cy="2980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29513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1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 в целом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1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</a:t>
                      </a:r>
                      <a:r>
                        <a:rPr lang="en-US" sz="600" b="1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ru-KZ" sz="600" b="1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батывающая промышленность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b="0" i="1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орговля 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4903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9872112-CED9-EF6A-02E5-E2F688545B98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75370075-5EB2-4D8A-B165-39755E582C41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BA875B4-0A45-255C-0FEE-247181242DFA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73CD4C0E-6D81-62DE-E650-BEAFAEA1F891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977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3BCD3863-14AB-71F9-64C4-DDE931508F10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864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6C3B45FD-E848-8DA0-BE1E-A36AFEB3576F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2 123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8A73BEC-92F9-DAAA-6D4C-D2C7C1948B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8973631"/>
              </p:ext>
            </p:extLst>
          </p:nvPr>
        </p:nvGraphicFramePr>
        <p:xfrm>
          <a:off x="2915927" y="1471614"/>
          <a:ext cx="2881482" cy="3167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64526ADE-25C3-C1FD-2B44-E3AE96FF00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074566"/>
              </p:ext>
            </p:extLst>
          </p:nvPr>
        </p:nvGraphicFramePr>
        <p:xfrm>
          <a:off x="6038980" y="1471614"/>
          <a:ext cx="2891350" cy="3151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E6F2176-F27B-71E3-A2A2-AE2A0BD8AD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119682"/>
              </p:ext>
            </p:extLst>
          </p:nvPr>
        </p:nvGraphicFramePr>
        <p:xfrm>
          <a:off x="9171901" y="1471614"/>
          <a:ext cx="3010854" cy="3119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BAB5C061-EE79-0B8D-301E-993375858A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501830"/>
              </p:ext>
            </p:extLst>
          </p:nvPr>
        </p:nvGraphicFramePr>
        <p:xfrm>
          <a:off x="581406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</a:t>
                      </a:r>
                      <a:r>
                        <a:rPr lang="en-US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D83DE10D-5DA5-90F5-1244-5A6A96796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114572"/>
              </p:ext>
            </p:extLst>
          </p:nvPr>
        </p:nvGraphicFramePr>
        <p:xfrm>
          <a:off x="8961128" y="1585912"/>
          <a:ext cx="269875" cy="2961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4808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8B80EDD-62D3-DCBD-2494-D70BABC847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85123"/>
              </p:ext>
            </p:extLst>
          </p:nvPr>
        </p:nvGraphicFramePr>
        <p:xfrm>
          <a:off x="224997" y="4748237"/>
          <a:ext cx="2736000" cy="11001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мышленность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троительство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ранспортировка и распределение товаров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Бизнес-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Общественны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7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57159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рочие услуги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DB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27F03A89-C90D-8F22-9663-D0D4CF57B8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1078801"/>
              </p:ext>
            </p:extLst>
          </p:nvPr>
        </p:nvGraphicFramePr>
        <p:xfrm>
          <a:off x="2915927" y="4710114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EA4B84EC-20A8-662B-F971-9EDE9797661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2011866"/>
              </p:ext>
            </p:extLst>
          </p:nvPr>
        </p:nvGraphicFramePr>
        <p:xfrm>
          <a:off x="6038980" y="4710114"/>
          <a:ext cx="293992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024510F6-022B-9005-61A1-46C22CCC46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4609553"/>
              </p:ext>
            </p:extLst>
          </p:nvPr>
        </p:nvGraphicFramePr>
        <p:xfrm>
          <a:off x="9171901" y="4710114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E529C38A-84EE-B807-F6AA-BD1F003EE5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51591"/>
              </p:ext>
            </p:extLst>
          </p:nvPr>
        </p:nvGraphicFramePr>
        <p:xfrm>
          <a:off x="5814068" y="4738687"/>
          <a:ext cx="269875" cy="11185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5979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A703A960-2A23-36D6-A982-ADE7FEA021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573139"/>
              </p:ext>
            </p:extLst>
          </p:nvPr>
        </p:nvGraphicFramePr>
        <p:xfrm>
          <a:off x="8961129" y="4719637"/>
          <a:ext cx="263612" cy="1135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612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8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2152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2B1B65A8-A790-51AE-7E61-D33BA0CF774C}"/>
              </a:ext>
            </a:extLst>
          </p:cNvPr>
          <p:cNvCxnSpPr/>
          <p:nvPr/>
        </p:nvCxnSpPr>
        <p:spPr>
          <a:xfrm>
            <a:off x="228600" y="46482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E62939F-6618-05A1-1701-B79BC05AB01D}"/>
              </a:ext>
            </a:extLst>
          </p:cNvPr>
          <p:cNvCxnSpPr/>
          <p:nvPr/>
        </p:nvCxnSpPr>
        <p:spPr>
          <a:xfrm>
            <a:off x="228600" y="5941979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161FE997-B05B-AFA3-968D-B5E53A2D13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958782"/>
              </p:ext>
            </p:extLst>
          </p:nvPr>
        </p:nvGraphicFramePr>
        <p:xfrm>
          <a:off x="224997" y="6042014"/>
          <a:ext cx="2736000" cy="358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800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Реальный секто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RU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en-US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8</a:t>
                      </a:r>
                      <a:r>
                        <a:rPr lang="ru-KZ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79390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фера услу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RU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7</a:t>
                      </a:r>
                      <a:r>
                        <a:rPr lang="en-US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KZ" sz="7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</a:tbl>
          </a:graphicData>
        </a:graphic>
      </p:graphicFrame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FD4AC615-8CD6-1F92-4148-0A0372F02A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9669423"/>
              </p:ext>
            </p:extLst>
          </p:nvPr>
        </p:nvGraphicFramePr>
        <p:xfrm>
          <a:off x="2915927" y="6003893"/>
          <a:ext cx="2887973" cy="396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3" name="Диаграмма 32">
            <a:extLst>
              <a:ext uri="{FF2B5EF4-FFF2-40B4-BE49-F238E27FC236}">
                <a16:creationId xmlns:a16="http://schemas.microsoft.com/office/drawing/2014/main" id="{6163B60D-13B5-C2E0-559D-D501A76150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3630316"/>
              </p:ext>
            </p:extLst>
          </p:nvPr>
        </p:nvGraphicFramePr>
        <p:xfrm>
          <a:off x="6038980" y="6003892"/>
          <a:ext cx="3088200" cy="396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84926B4A-16AA-765C-657E-38B9166B62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8622386"/>
              </p:ext>
            </p:extLst>
          </p:nvPr>
        </p:nvGraphicFramePr>
        <p:xfrm>
          <a:off x="9171901" y="6003892"/>
          <a:ext cx="3010854" cy="396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C3341226-F972-2CE0-5893-396C40B778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379032"/>
              </p:ext>
            </p:extLst>
          </p:nvPr>
        </p:nvGraphicFramePr>
        <p:xfrm>
          <a:off x="5814068" y="6032464"/>
          <a:ext cx="269875" cy="3611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80596"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RU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en-US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ru-KZ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80596"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RU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6</a:t>
                      </a:r>
                      <a:r>
                        <a:rPr lang="en-US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7</a:t>
                      </a:r>
                      <a:r>
                        <a:rPr lang="ru-KZ" sz="700" b="0" i="0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graphicFrame>
        <p:nvGraphicFramePr>
          <p:cNvPr id="36" name="Таблица 35">
            <a:extLst>
              <a:ext uri="{FF2B5EF4-FFF2-40B4-BE49-F238E27FC236}">
                <a16:creationId xmlns:a16="http://schemas.microsoft.com/office/drawing/2014/main" id="{1D840C1B-9496-EFAF-9ECF-76631E21D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352866"/>
              </p:ext>
            </p:extLst>
          </p:nvPr>
        </p:nvGraphicFramePr>
        <p:xfrm>
          <a:off x="8961128" y="6013414"/>
          <a:ext cx="269875" cy="3802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90121"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RU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en-US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KZ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90121">
                <a:tc>
                  <a:txBody>
                    <a:bodyPr/>
                    <a:lstStyle/>
                    <a:p>
                      <a:pPr algn="r" fontAlgn="b"/>
                      <a:r>
                        <a:rPr lang="ru-KZ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en-US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78</a:t>
                      </a:r>
                      <a:r>
                        <a:rPr lang="ru-KZ" sz="700" b="0" i="0" u="none" strike="noStrike" cap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</a:tbl>
          </a:graphicData>
        </a:graphic>
      </p:graphicFrame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9A05F299-20A1-7F8C-AB17-59F299067E1A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</a:t>
            </a:r>
            <a:endParaRPr lang="ru-KZ" sz="1800" kern="0" dirty="0"/>
          </a:p>
        </p:txBody>
      </p:sp>
    </p:spTree>
    <p:extLst>
      <p:ext uri="{BB962C8B-B14F-4D97-AF65-F5344CB8AC3E}">
        <p14:creationId xmlns:p14="http://schemas.microsoft.com/office/powerpoint/2010/main" val="848053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16827E-D757-F3A7-D0F1-65B0990DBE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31B6B4-89B5-B7DA-EA6A-A852881E2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окупный спрос на кадры в 2025-2035 годах по регионам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05943D3-7E0D-12B0-C5C8-B9FA93509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9</a:t>
            </a:fld>
            <a:r>
              <a:rPr lang="en-US" dirty="0"/>
              <a:t> </a:t>
            </a:r>
            <a:r>
              <a:rPr lang="ru-RU" dirty="0"/>
              <a:t>из 78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6B42319-E5B5-86A3-1659-B11E46473B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445175"/>
              </p:ext>
            </p:extLst>
          </p:nvPr>
        </p:nvGraphicFramePr>
        <p:xfrm>
          <a:off x="491169" y="1566861"/>
          <a:ext cx="2473201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1810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1091810">
                  <a:extLst>
                    <a:ext uri="{9D8B030D-6E8A-4147-A177-3AD203B41FA5}">
                      <a16:colId xmlns:a16="http://schemas.microsoft.com/office/drawing/2014/main" val="2693142276"/>
                    </a:ext>
                  </a:extLst>
                </a:gridCol>
                <a:gridCol w="289581">
                  <a:extLst>
                    <a:ext uri="{9D8B030D-6E8A-4147-A177-3AD203B41FA5}">
                      <a16:colId xmlns:a16="http://schemas.microsoft.com/office/drawing/2014/main" val="746958382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бай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мол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61406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ктюб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лмат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Атыр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амбыл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Жетыс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араган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останай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Кызылорди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ангистау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Павлодар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г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Турке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680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 и восток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Улытау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В.-Казахстанская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680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стана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Алмат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68037">
                <a:tc vMerge="1">
                  <a:txBody>
                    <a:bodyPr/>
                    <a:lstStyle/>
                    <a:p>
                      <a:pPr algn="r" fontAlgn="ctr"/>
                      <a:endParaRPr lang="ru-RU" sz="800" b="0" i="0" u="none" strike="noStrike" cap="none" dirty="0">
                        <a:solidFill>
                          <a:schemeClr val="accent2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Г. Шымкент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5AA9116-A81A-230B-1A33-EF0D3228EB45}"/>
              </a:ext>
            </a:extLst>
          </p:cNvPr>
          <p:cNvSpPr txBox="1">
            <a:spLocks/>
          </p:cNvSpPr>
          <p:nvPr/>
        </p:nvSpPr>
        <p:spPr>
          <a:xfrm>
            <a:off x="315678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2">
                    <a:lumMod val="50000"/>
                  </a:schemeClr>
                </a:solidFill>
              </a:rPr>
              <a:t>Базовый</a:t>
            </a:r>
            <a:endParaRPr lang="ru-KZ" sz="16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80663DC-3D84-4282-6279-F2A7E603A7B2}"/>
              </a:ext>
            </a:extLst>
          </p:cNvPr>
          <p:cNvSpPr txBox="1">
            <a:spLocks/>
          </p:cNvSpPr>
          <p:nvPr/>
        </p:nvSpPr>
        <p:spPr>
          <a:xfrm>
            <a:off x="6220023" y="627862"/>
            <a:ext cx="2057488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3">
                    <a:lumMod val="50000"/>
                  </a:schemeClr>
                </a:solidFill>
              </a:rPr>
              <a:t>Оптимистический</a:t>
            </a:r>
            <a:endParaRPr lang="ru-KZ" sz="1600" kern="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A5903D5-95D7-0341-989D-5ED3D61DD76A}"/>
              </a:ext>
            </a:extLst>
          </p:cNvPr>
          <p:cNvSpPr txBox="1">
            <a:spLocks/>
          </p:cNvSpPr>
          <p:nvPr/>
        </p:nvSpPr>
        <p:spPr>
          <a:xfrm>
            <a:off x="9355018" y="627862"/>
            <a:ext cx="2282670" cy="41664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600" kern="0" dirty="0">
                <a:solidFill>
                  <a:schemeClr val="accent6">
                    <a:lumMod val="50000"/>
                  </a:schemeClr>
                </a:solidFill>
              </a:rPr>
              <a:t>Пессимистический</a:t>
            </a:r>
            <a:endParaRPr lang="ru-KZ" sz="1600" kern="0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5EB3046-2608-8241-4F34-9C622A8CBE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438551"/>
              </p:ext>
            </p:extLst>
          </p:nvPr>
        </p:nvGraphicFramePr>
        <p:xfrm>
          <a:off x="2915927" y="1440181"/>
          <a:ext cx="2882893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88E81AB5-1E48-1E8E-BEF7-D0D5F2B171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9831925"/>
              </p:ext>
            </p:extLst>
          </p:nvPr>
        </p:nvGraphicFramePr>
        <p:xfrm>
          <a:off x="6038980" y="1440181"/>
          <a:ext cx="2891350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64FAE220-F881-7989-D033-BBF02C3675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9293936"/>
              </p:ext>
            </p:extLst>
          </p:nvPr>
        </p:nvGraphicFramePr>
        <p:xfrm>
          <a:off x="9171901" y="1440181"/>
          <a:ext cx="2913419" cy="3559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D4CB9400-91F1-565C-8159-519123A82D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217337"/>
              </p:ext>
            </p:extLst>
          </p:nvPr>
        </p:nvGraphicFramePr>
        <p:xfrm>
          <a:off x="5814068" y="1566861"/>
          <a:ext cx="269875" cy="3360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5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7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32B583C9-2AE3-689C-60B5-D8FC96B6A4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416439"/>
              </p:ext>
            </p:extLst>
          </p:nvPr>
        </p:nvGraphicFramePr>
        <p:xfrm>
          <a:off x="8961128" y="1566860"/>
          <a:ext cx="269875" cy="336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42223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25001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1139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934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5523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62613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6266315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327812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74300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75529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45414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4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713972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190439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6009471"/>
                  </a:ext>
                </a:extLst>
              </a:tr>
              <a:tr h="16803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6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5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8534602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7BE41369-23B2-4F05-9E30-B91EA0893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724150"/>
              </p:ext>
            </p:extLst>
          </p:nvPr>
        </p:nvGraphicFramePr>
        <p:xfrm>
          <a:off x="491169" y="5234620"/>
          <a:ext cx="2473696" cy="10899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5696">
                  <a:extLst>
                    <a:ext uri="{9D8B030D-6E8A-4147-A177-3AD203B41FA5}">
                      <a16:colId xmlns:a16="http://schemas.microsoft.com/office/drawing/2014/main" val="1922217512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025433456"/>
                    </a:ext>
                  </a:extLst>
                </a:gridCol>
              </a:tblGrid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Мегаполис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ED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Юж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2E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Центральные и восточ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20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A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Запад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217994">
                <a:tc>
                  <a:txBody>
                    <a:bodyPr/>
                    <a:lstStyle/>
                    <a:p>
                      <a:pPr algn="r" fontAlgn="b"/>
                      <a:r>
                        <a:rPr lang="ru-RU" sz="9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Северные регионы</a:t>
                      </a:r>
                    </a:p>
                  </a:txBody>
                  <a:tcPr marL="9525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2868A3"/>
                          </a:solidFill>
                          <a:effectLst/>
                          <a:latin typeface="Arial" panose="020B0604020202020204" pitchFamily="34" charset="0"/>
                        </a:rPr>
                        <a:t>(1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0A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</a:tbl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44825F72-9DA2-AB34-F22B-A3FD71D160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699871"/>
              </p:ext>
            </p:extLst>
          </p:nvPr>
        </p:nvGraphicFramePr>
        <p:xfrm>
          <a:off x="2915927" y="5196497"/>
          <a:ext cx="2887973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19448269-D953-7493-F3A0-2A610C88CB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0515626"/>
              </p:ext>
            </p:extLst>
          </p:nvPr>
        </p:nvGraphicFramePr>
        <p:xfrm>
          <a:off x="6038980" y="5196497"/>
          <a:ext cx="3088200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C9534C80-C63B-3A1B-88CA-EC1AB7FEAB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7177623"/>
              </p:ext>
            </p:extLst>
          </p:nvPr>
        </p:nvGraphicFramePr>
        <p:xfrm>
          <a:off x="9171901" y="5196497"/>
          <a:ext cx="3010854" cy="1169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B50DD371-1182-DCF3-1E06-1E99FC95E3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210711"/>
              </p:ext>
            </p:extLst>
          </p:nvPr>
        </p:nvGraphicFramePr>
        <p:xfrm>
          <a:off x="5814068" y="5225069"/>
          <a:ext cx="269875" cy="1118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2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7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3716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39714C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3D2CBAF1-E154-04FF-FC98-166CE2F528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27567"/>
              </p:ext>
            </p:extLst>
          </p:nvPr>
        </p:nvGraphicFramePr>
        <p:xfrm>
          <a:off x="8961128" y="5206019"/>
          <a:ext cx="269875" cy="11185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875">
                  <a:extLst>
                    <a:ext uri="{9D8B030D-6E8A-4147-A177-3AD203B41FA5}">
                      <a16:colId xmlns:a16="http://schemas.microsoft.com/office/drawing/2014/main" val="606736006"/>
                    </a:ext>
                  </a:extLst>
                </a:gridCol>
              </a:tblGrid>
              <a:tr h="223713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9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9978050"/>
                  </a:ext>
                </a:extLst>
              </a:tr>
              <a:tr h="223713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2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133466"/>
                  </a:ext>
                </a:extLst>
              </a:tr>
              <a:tr h="223713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21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632047"/>
                  </a:ext>
                </a:extLst>
              </a:tr>
              <a:tr h="223713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6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1876083"/>
                  </a:ext>
                </a:extLst>
              </a:tr>
              <a:tr h="223713">
                <a:tc>
                  <a:txBody>
                    <a:bodyPr/>
                    <a:lstStyle/>
                    <a:p>
                      <a:pPr algn="r" rtl="0" fontAlgn="ctr"/>
                      <a:r>
                        <a:rPr lang="ru-KZ" sz="700" b="0" i="0" u="none" strike="noStrike" dirty="0">
                          <a:solidFill>
                            <a:srgbClr val="632523"/>
                          </a:solidFill>
                          <a:effectLst/>
                          <a:latin typeface="Arial" panose="020B0604020202020204" pitchFamily="34" charset="0"/>
                        </a:rPr>
                        <a:t>(13%)</a:t>
                      </a:r>
                    </a:p>
                  </a:txBody>
                  <a:tcPr marL="9525" marR="95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8433086"/>
                  </a:ext>
                </a:extLst>
              </a:tr>
            </a:tbl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16C17891-651B-93ED-09B3-DC37F3C56649}"/>
              </a:ext>
            </a:extLst>
          </p:cNvPr>
          <p:cNvCxnSpPr/>
          <p:nvPr/>
        </p:nvCxnSpPr>
        <p:spPr>
          <a:xfrm>
            <a:off x="228600" y="5105400"/>
            <a:ext cx="11823700" cy="0"/>
          </a:xfrm>
          <a:prstGeom prst="line">
            <a:avLst/>
          </a:prstGeom>
          <a:ln w="28575">
            <a:solidFill>
              <a:srgbClr val="0A11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E15BA23-554C-C1BD-E190-AB5B3F8652B9}"/>
              </a:ext>
            </a:extLst>
          </p:cNvPr>
          <p:cNvSpPr txBox="1">
            <a:spLocks/>
          </p:cNvSpPr>
          <p:nvPr/>
        </p:nvSpPr>
        <p:spPr>
          <a:xfrm>
            <a:off x="72000" y="700391"/>
            <a:ext cx="3449413" cy="46103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800" kern="0" dirty="0"/>
              <a:t>Весь спрос</a:t>
            </a:r>
            <a:endParaRPr lang="ru-KZ" sz="1800" kern="0" dirty="0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36E188C0-8DB2-3287-8F75-67FCDFFF8F84}"/>
              </a:ext>
            </a:extLst>
          </p:cNvPr>
          <p:cNvSpPr/>
          <p:nvPr/>
        </p:nvSpPr>
        <p:spPr>
          <a:xfrm>
            <a:off x="3132304" y="984818"/>
            <a:ext cx="2106446" cy="416646"/>
          </a:xfrm>
          <a:prstGeom prst="roundRect">
            <a:avLst>
              <a:gd name="adj" fmla="val 50000"/>
            </a:avLst>
          </a:prstGeom>
          <a:solidFill>
            <a:srgbClr val="0A1121">
              <a:alpha val="43000"/>
            </a:srgbClr>
          </a:solidFill>
          <a:ln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2 977 </a:t>
            </a:r>
            <a:r>
              <a:rPr lang="ru-RU" sz="1600" dirty="0"/>
              <a:t>тыс. человек</a:t>
            </a:r>
            <a:endParaRPr lang="ru-KZ" sz="1600" dirty="0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E34FEC43-ACCB-60BF-9668-36C443325131}"/>
              </a:ext>
            </a:extLst>
          </p:cNvPr>
          <p:cNvSpPr/>
          <p:nvPr/>
        </p:nvSpPr>
        <p:spPr>
          <a:xfrm>
            <a:off x="6191734" y="984818"/>
            <a:ext cx="2114066" cy="416646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3 </a:t>
            </a:r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864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</a:rPr>
              <a:t> тыс. человек</a:t>
            </a:r>
            <a:endParaRPr lang="ru-KZ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B37D097-31AC-5CA5-E4A2-B45638ECF5F8}"/>
              </a:ext>
            </a:extLst>
          </p:cNvPr>
          <p:cNvSpPr/>
          <p:nvPr/>
        </p:nvSpPr>
        <p:spPr>
          <a:xfrm>
            <a:off x="9410306" y="984818"/>
            <a:ext cx="2172094" cy="416646"/>
          </a:xfrm>
          <a:prstGeom prst="roundRect">
            <a:avLst>
              <a:gd name="adj" fmla="val 5000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2 123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тыс. человек</a:t>
            </a:r>
            <a:endParaRPr lang="ru-KZ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291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-05-2018 Dasco CORP Presentation</Template>
  <TotalTime>120726</TotalTime>
  <Words>38692</Words>
  <Application>Microsoft Office PowerPoint</Application>
  <PresentationFormat>Широкоэкранный</PresentationFormat>
  <Paragraphs>20600</Paragraphs>
  <Slides>78</Slides>
  <Notes>7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8</vt:i4>
      </vt:variant>
    </vt:vector>
  </HeadingPairs>
  <TitlesOfParts>
    <vt:vector size="83" baseType="lpstr">
      <vt:lpstr>Arial</vt:lpstr>
      <vt:lpstr>Arial Narrow</vt:lpstr>
      <vt:lpstr>Calibri</vt:lpstr>
      <vt:lpstr>2_DCG template</vt:lpstr>
      <vt:lpstr>think-cell Slide</vt:lpstr>
      <vt:lpstr>Презентация PowerPoint</vt:lpstr>
      <vt:lpstr>Содержание</vt:lpstr>
      <vt:lpstr>Основные выводы (1 из 3)</vt:lpstr>
      <vt:lpstr>Основные выводы (2 из 3)</vt:lpstr>
      <vt:lpstr>Основные выводы (3 из 3)</vt:lpstr>
      <vt:lpstr>Прогноз параметров рынка труда</vt:lpstr>
      <vt:lpstr>Презентация PowerPoint</vt:lpstr>
      <vt:lpstr>Совокупный спрос на кадры в 2025-2035 годах по отраслям</vt:lpstr>
      <vt:lpstr>Совокупный спрос на кадры в 2025-2035 годах по регионам</vt:lpstr>
      <vt:lpstr>Совокупный спрос на кадры в 2025-2035 годах по годам</vt:lpstr>
      <vt:lpstr>Совокупный спрос на кадры в 2025-2035 годах по группам профессий</vt:lpstr>
      <vt:lpstr>Спрос на кадры по замещению в 2025-2035 годах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годам и группам профессий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годам и группам профессий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годам и группам профессий</vt:lpstr>
      <vt:lpstr>Презентация PowerPoint</vt:lpstr>
      <vt:lpstr>Совокупный спрос на кадры в 2025-2035 годах по отраслям</vt:lpstr>
      <vt:lpstr>Совокупный спрос на кадры в 2025-2035 годах по регионам</vt:lpstr>
      <vt:lpstr>Совокупный спрос на кадры в 2025-2035 годах по годам</vt:lpstr>
      <vt:lpstr>Спрос на кадры по замещению в 2025-2035 годах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Презентация PowerPoint</vt:lpstr>
      <vt:lpstr>Совокупный спрос на кадры в 2025-2035 годах по отраслям</vt:lpstr>
      <vt:lpstr>Совокупный спрос на кадры в 2025-2035 годах по регионам</vt:lpstr>
      <vt:lpstr>Совокупный спрос на кадры в 2025-2035 годах по годам</vt:lpstr>
      <vt:lpstr>Спрос на кадры по замещению в 2025-2035 годах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Совокупный спрос в 2025-2035 годах по регионам и отраслям</vt:lpstr>
      <vt:lpstr>Совокупный спрос в 2025-2035 годах по годам и регионам</vt:lpstr>
      <vt:lpstr>Совокупный спрос в 2025-2035 годах по годам и отраслям</vt:lpstr>
      <vt:lpstr>Презентация PowerPoint</vt:lpstr>
      <vt:lpstr>Наиболее востребованные профессии базового сценария (1 из 4) </vt:lpstr>
      <vt:lpstr>Наиболее востребованные профессии базового сценария (2 из 4) </vt:lpstr>
      <vt:lpstr>Наиболее востребованные профессии базового сценария (3 из 4) </vt:lpstr>
      <vt:lpstr>Наиболее востребованные профессии базового сценария (4 из 4) </vt:lpstr>
      <vt:lpstr>Наиболее востребованные профессии оптимистичного сценария (1 из 4) </vt:lpstr>
      <vt:lpstr>Наиболее востребованные профессии оптимистичного сценария (2 из 4) </vt:lpstr>
      <vt:lpstr>Наиболее востребованные профессии оптимистичного сценария (3 из 4) </vt:lpstr>
      <vt:lpstr>Наиболее востребованные профессии оптимистичного сценария (4 из 4) </vt:lpstr>
      <vt:lpstr>Наиболее востребованные профессии пессимистичного сценария (1 из 4) </vt:lpstr>
      <vt:lpstr>Наиболее востребованные профессии пессимистичного сценария (2 из 4) </vt:lpstr>
      <vt:lpstr>Наиболее востребованные профессии пессимистичного сценария (3 из 4) </vt:lpstr>
      <vt:lpstr>Наиболее востребованные профессии пессимистичного сценария (4 из 4) </vt:lpstr>
      <vt:lpstr>Презентация PowerPoint</vt:lpstr>
      <vt:lpstr>Наиболее востребованные профессии базового сценария (1 из 4) </vt:lpstr>
      <vt:lpstr>Наиболее востребованные профессии базового сценария (2 из 4) </vt:lpstr>
      <vt:lpstr>Наиболее востребованные профессии базового сценария (3 из 4) </vt:lpstr>
      <vt:lpstr>Наиболее востребованные профессии базового сценария (4 из 4) </vt:lpstr>
      <vt:lpstr>Наиболее востребованные профессии оптимистичного сценария (1 из 4) </vt:lpstr>
      <vt:lpstr>Наиболее востребованные профессии оптимистичного сценария (2 из 4) </vt:lpstr>
      <vt:lpstr>Наиболее востребованные профессии оптимистичного сценария (3 из 4) </vt:lpstr>
      <vt:lpstr>Наиболее востребованные профессии оптимистичного сценария (4 из 4) </vt:lpstr>
      <vt:lpstr>Наиболее востребованные профессии пессимистичного сценария (1 из 4) </vt:lpstr>
      <vt:lpstr>Наиболее востребованные профессии пессимистичного сценария (2 из 4) </vt:lpstr>
      <vt:lpstr>Наиболее востребованные профессии пессимистичного сценария (3 из 4) </vt:lpstr>
      <vt:lpstr>Наиболее востребованные профессии пессимистичного сценария (4 из 4) 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y Name</dc:creator>
  <cp:lastModifiedBy>. .</cp:lastModifiedBy>
  <cp:revision>3630</cp:revision>
  <cp:lastPrinted>2025-04-25T05:13:49Z</cp:lastPrinted>
  <dcterms:created xsi:type="dcterms:W3CDTF">2018-04-01T08:04:46Z</dcterms:created>
  <dcterms:modified xsi:type="dcterms:W3CDTF">2025-04-25T05:39:20Z</dcterms:modified>
</cp:coreProperties>
</file>